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comments/modernComment_101_A35B1FAD.xml" ContentType="application/vnd.ms-powerpoint.comments+xml"/>
  <Override PartName="/ppt/comments/modernComment_102_16D63B5D.xml" ContentType="application/vnd.ms-powerpoint.comments+xml"/>
  <Override PartName="/ppt/comments/modernComment_103_41A776E2.xml" ContentType="application/vnd.ms-powerpoint.comments+xml"/>
  <Override PartName="/ppt/comments/modernComment_105_EC80B5.xml" ContentType="application/vnd.ms-powerpoint.comments+xml"/>
  <Override PartName="/ppt/comments/modernComment_106_A5F5D5C.xml" ContentType="application/vnd.ms-powerpoint.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5"/>
  </p:notesMasterIdLst>
  <p:sldIdLst>
    <p:sldId id="256" r:id="rId2"/>
    <p:sldId id="257" r:id="rId3"/>
    <p:sldId id="258" r:id="rId4"/>
    <p:sldId id="265" r:id="rId5"/>
    <p:sldId id="259" r:id="rId6"/>
    <p:sldId id="260" r:id="rId7"/>
    <p:sldId id="261" r:id="rId8"/>
    <p:sldId id="262" r:id="rId9"/>
    <p:sldId id="263" r:id="rId10"/>
    <p:sldId id="272" r:id="rId11"/>
    <p:sldId id="271" r:id="rId12"/>
    <p:sldId id="273" r:id="rId13"/>
    <p:sldId id="274" r:id="rId14"/>
    <p:sldId id="278" r:id="rId15"/>
    <p:sldId id="279" r:id="rId16"/>
    <p:sldId id="280" r:id="rId17"/>
    <p:sldId id="281" r:id="rId18"/>
    <p:sldId id="264" r:id="rId19"/>
    <p:sldId id="282" r:id="rId20"/>
    <p:sldId id="283" r:id="rId21"/>
    <p:sldId id="2145706692" r:id="rId22"/>
    <p:sldId id="267" r:id="rId23"/>
    <p:sldId id="284"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603C331-9123-4E4F-BC34-E2FD8C197D68}">
          <p14:sldIdLst>
            <p14:sldId id="256"/>
          </p14:sldIdLst>
        </p14:section>
        <p14:section name="Planning" id="{115DC383-F5A6-426B-9C11-30BB566047BE}">
          <p14:sldIdLst>
            <p14:sldId id="257"/>
            <p14:sldId id="258"/>
            <p14:sldId id="265"/>
            <p14:sldId id="259"/>
            <p14:sldId id="260"/>
            <p14:sldId id="261"/>
            <p14:sldId id="262"/>
            <p14:sldId id="263"/>
          </p14:sldIdLst>
        </p14:section>
        <p14:section name="Analysis" id="{441B0E32-0247-4F0B-BE66-61145472CE92}">
          <p14:sldIdLst>
            <p14:sldId id="272"/>
            <p14:sldId id="271"/>
            <p14:sldId id="273"/>
            <p14:sldId id="274"/>
            <p14:sldId id="278"/>
            <p14:sldId id="279"/>
            <p14:sldId id="280"/>
            <p14:sldId id="281"/>
            <p14:sldId id="264"/>
          </p14:sldIdLst>
        </p14:section>
        <p14:section name="Stock take january 2024" id="{7C5F7361-70F9-4FA1-8DF8-50A95CF1B4F6}">
          <p14:sldIdLst>
            <p14:sldId id="282"/>
            <p14:sldId id="283"/>
          </p14:sldIdLst>
        </p14:section>
        <p14:section name="Provider landscape analysis" id="{8EFC6D6E-5428-4CDA-941E-E2BA3458299D}">
          <p14:sldIdLst>
            <p14:sldId id="2145706692"/>
          </p14:sldIdLst>
        </p14:section>
        <p14:section name="Old analysis" id="{4337C3E2-1ABA-44E5-B497-9104E64A3C28}">
          <p14:sldIdLst>
            <p14:sldId id="267"/>
            <p14:sldId id="28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1E0B567-EA12-2076-CDDB-A157FA025C5A}" name="LUMLEY, Richard" initials="LR" userId="S::Richard.Lumley@EDUCATION.GOV.UK::787b5b68-2150-48f7-bf01-952392ab78ea" providerId="AD"/>
  <p188:author id="{9978DD94-15C9-02CE-08B9-C8A71116F2FA}" name="TAYLOR, Ian" initials="IT" userId="S::Ian.TAYLOR@EDUCATION.GOV.UK::0ceff34f-92d1-47cd-9819-bc44728b0f5b" providerId="AD"/>
  <p188:author id="{D0E74CB9-573E-252D-E714-2DD9E237DA6F}" name="WALKER, William" initials="WW" userId="S::William.WALKER@EDUCATION.GOV.UK::22952978-5718-404d-bb8f-e86d461ff03c"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4A75A36-47B3-48E7-A95B-46F2FD266C0A}" v="11730" dt="2024-01-08T16:30:42.5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108" d="100"/>
          <a:sy n="108" d="100"/>
        </p:scale>
        <p:origin x="708"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ustomXml" Target="../customXml/item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8/10/relationships/authors" Targe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 Id="rId30" Type="http://schemas.microsoft.com/office/2016/11/relationships/changesInfo" Target="changesInfos/changesInfo1.xml"/><Relationship Id="rId35" Type="http://schemas.openxmlformats.org/officeDocument/2006/relationships/customXml" Target="../customXml/item3.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MLEY, Richard" userId="787b5b68-2150-48f7-bf01-952392ab78ea" providerId="ADAL" clId="{CE732193-1795-4ADE-9A17-1E381A16EF77}"/>
    <pc:docChg chg="">
      <pc:chgData name="LUMLEY, Richard" userId="787b5b68-2150-48f7-bf01-952392ab78ea" providerId="ADAL" clId="{CE732193-1795-4ADE-9A17-1E381A16EF77}" dt="2023-11-24T13:37:09.658" v="2"/>
      <pc:docMkLst>
        <pc:docMk/>
      </pc:docMkLst>
      <pc:sldChg chg="addCm">
        <pc:chgData name="LUMLEY, Richard" userId="787b5b68-2150-48f7-bf01-952392ab78ea" providerId="ADAL" clId="{CE732193-1795-4ADE-9A17-1E381A16EF77}" dt="2023-11-24T13:36:06.719" v="1"/>
        <pc:sldMkLst>
          <pc:docMk/>
          <pc:sldMk cId="2740658093" sldId="257"/>
        </pc:sldMkLst>
        <pc:extLst>
          <p:ext xmlns:p="http://schemas.openxmlformats.org/presentationml/2006/main" uri="{D6D511B9-2390-475A-947B-AFAB55BFBCF1}">
            <pc226:cmChg xmlns:pc226="http://schemas.microsoft.com/office/powerpoint/2022/06/main/command" chg="add">
              <pc226:chgData name="LUMLEY, Richard" userId="787b5b68-2150-48f7-bf01-952392ab78ea" providerId="ADAL" clId="{CE732193-1795-4ADE-9A17-1E381A16EF77}" dt="2023-11-24T13:36:06.719" v="1"/>
              <pc2:cmMkLst xmlns:pc2="http://schemas.microsoft.com/office/powerpoint/2019/9/main/command">
                <pc:docMk/>
                <pc:sldMk cId="2740658093" sldId="257"/>
                <pc2:cmMk id="{71476A05-C0F7-4578-8CDB-E7B5CE64640A}"/>
              </pc2:cmMkLst>
            </pc226:cmChg>
          </p:ext>
        </pc:extLst>
      </pc:sldChg>
      <pc:sldChg chg="addCm modCm">
        <pc:chgData name="LUMLEY, Richard" userId="787b5b68-2150-48f7-bf01-952392ab78ea" providerId="ADAL" clId="{CE732193-1795-4ADE-9A17-1E381A16EF77}" dt="2023-11-24T13:37:09.658" v="2"/>
        <pc:sldMkLst>
          <pc:docMk/>
          <pc:sldMk cId="383138653" sldId="258"/>
        </pc:sldMkLst>
        <pc:extLst>
          <p:ext xmlns:p="http://schemas.openxmlformats.org/presentationml/2006/main" uri="{D6D511B9-2390-475A-947B-AFAB55BFBCF1}">
            <pc226:cmChg xmlns:pc226="http://schemas.microsoft.com/office/powerpoint/2022/06/main/command" chg="add">
              <pc226:chgData name="LUMLEY, Richard" userId="787b5b68-2150-48f7-bf01-952392ab78ea" providerId="ADAL" clId="{CE732193-1795-4ADE-9A17-1E381A16EF77}" dt="2023-11-24T13:37:09.658" v="2"/>
              <pc2:cmMkLst xmlns:pc2="http://schemas.microsoft.com/office/powerpoint/2019/9/main/command">
                <pc:docMk/>
                <pc:sldMk cId="383138653" sldId="258"/>
                <pc2:cmMk id="{42BED7CB-6E5A-47DF-8BC4-2B82B7892676}"/>
              </pc2:cmMkLst>
            </pc226:cmChg>
            <pc226:cmChg xmlns:pc226="http://schemas.microsoft.com/office/powerpoint/2022/06/main/command" chg="mod modRxn">
              <pc226:chgData name="LUMLEY, Richard" userId="787b5b68-2150-48f7-bf01-952392ab78ea" providerId="ADAL" clId="{CE732193-1795-4ADE-9A17-1E381A16EF77}" dt="2023-11-24T13:01:38.015" v="0"/>
              <pc2:cmMkLst xmlns:pc2="http://schemas.microsoft.com/office/powerpoint/2019/9/main/command">
                <pc:docMk/>
                <pc:sldMk cId="383138653" sldId="258"/>
                <pc2:cmMk id="{F6A569EC-2789-4B87-A278-03DFA2FB9FBE}"/>
              </pc2:cmMkLst>
            </pc226:cmChg>
          </p:ext>
        </pc:extLst>
      </pc:sldChg>
    </pc:docChg>
  </pc:docChgLst>
  <pc:docChgLst>
    <pc:chgData name="TAYLOR, Ian" userId="0ceff34f-92d1-47cd-9819-bc44728b0f5b" providerId="ADAL" clId="{62D26C76-CF2C-485E-97DC-D2AB825CD61C}"/>
    <pc:docChg chg="modSld">
      <pc:chgData name="TAYLOR, Ian" userId="0ceff34f-92d1-47cd-9819-bc44728b0f5b" providerId="ADAL" clId="{62D26C76-CF2C-485E-97DC-D2AB825CD61C}" dt="2023-11-23T11:40:29.830" v="165"/>
      <pc:docMkLst>
        <pc:docMk/>
      </pc:docMkLst>
      <pc:sldChg chg="modSp mod addCm">
        <pc:chgData name="TAYLOR, Ian" userId="0ceff34f-92d1-47cd-9819-bc44728b0f5b" providerId="ADAL" clId="{62D26C76-CF2C-485E-97DC-D2AB825CD61C}" dt="2023-11-23T11:17:29.178" v="140" actId="20577"/>
        <pc:sldMkLst>
          <pc:docMk/>
          <pc:sldMk cId="2740658093" sldId="257"/>
        </pc:sldMkLst>
        <pc:spChg chg="mod">
          <ac:chgData name="TAYLOR, Ian" userId="0ceff34f-92d1-47cd-9819-bc44728b0f5b" providerId="ADAL" clId="{62D26C76-CF2C-485E-97DC-D2AB825CD61C}" dt="2023-11-23T11:16:12.562" v="70" actId="20577"/>
          <ac:spMkLst>
            <pc:docMk/>
            <pc:sldMk cId="2740658093" sldId="257"/>
            <ac:spMk id="9" creationId="{C9FA2DCC-945E-7503-4FB9-69E3581D71A5}"/>
          </ac:spMkLst>
        </pc:spChg>
        <pc:spChg chg="mod">
          <ac:chgData name="TAYLOR, Ian" userId="0ceff34f-92d1-47cd-9819-bc44728b0f5b" providerId="ADAL" clId="{62D26C76-CF2C-485E-97DC-D2AB825CD61C}" dt="2023-11-23T11:17:29.178" v="140" actId="20577"/>
          <ac:spMkLst>
            <pc:docMk/>
            <pc:sldMk cId="2740658093" sldId="257"/>
            <ac:spMk id="10" creationId="{F9C8872F-9D9A-A547-E7F6-8622E1654A08}"/>
          </ac:spMkLst>
        </pc:spChg>
        <pc:cxnChg chg="mod">
          <ac:chgData name="TAYLOR, Ian" userId="0ceff34f-92d1-47cd-9819-bc44728b0f5b" providerId="ADAL" clId="{62D26C76-CF2C-485E-97DC-D2AB825CD61C}" dt="2023-11-23T11:15:53.987" v="49" actId="14100"/>
          <ac:cxnSpMkLst>
            <pc:docMk/>
            <pc:sldMk cId="2740658093" sldId="257"/>
            <ac:cxnSpMk id="13" creationId="{D64FC78E-B6E8-9BE2-0335-E36F73A4DCF4}"/>
          </ac:cxnSpMkLst>
        </pc:cxnChg>
        <pc:cxnChg chg="mod">
          <ac:chgData name="TAYLOR, Ian" userId="0ceff34f-92d1-47cd-9819-bc44728b0f5b" providerId="ADAL" clId="{62D26C76-CF2C-485E-97DC-D2AB825CD61C}" dt="2023-11-23T11:17:11.984" v="103" actId="14100"/>
          <ac:cxnSpMkLst>
            <pc:docMk/>
            <pc:sldMk cId="2740658093" sldId="257"/>
            <ac:cxnSpMk id="17" creationId="{368EEDAF-B3D9-0713-4FA2-CB3181463D95}"/>
          </ac:cxnSpMkLst>
        </pc:cxnChg>
        <pc:extLst>
          <p:ext xmlns:p="http://schemas.openxmlformats.org/presentationml/2006/main" uri="{D6D511B9-2390-475A-947B-AFAB55BFBCF1}">
            <pc226:cmChg xmlns:pc226="http://schemas.microsoft.com/office/powerpoint/2022/06/main/command" chg="add">
              <pc226:chgData name="TAYLOR, Ian" userId="0ceff34f-92d1-47cd-9819-bc44728b0f5b" providerId="ADAL" clId="{62D26C76-CF2C-485E-97DC-D2AB825CD61C}" dt="2023-11-23T11:14:02.260" v="0"/>
              <pc2:cmMkLst xmlns:pc2="http://schemas.microsoft.com/office/powerpoint/2019/9/main/command">
                <pc:docMk/>
                <pc:sldMk cId="2740658093" sldId="257"/>
                <pc2:cmMk id="{58C0F3A6-163D-41FB-9214-9F645CB63122}"/>
              </pc2:cmMkLst>
            </pc226:cmChg>
          </p:ext>
        </pc:extLst>
      </pc:sldChg>
      <pc:sldChg chg="modSp mod addCm">
        <pc:chgData name="TAYLOR, Ian" userId="0ceff34f-92d1-47cd-9819-bc44728b0f5b" providerId="ADAL" clId="{62D26C76-CF2C-485E-97DC-D2AB825CD61C}" dt="2023-11-23T11:26:43.387" v="160"/>
        <pc:sldMkLst>
          <pc:docMk/>
          <pc:sldMk cId="383138653" sldId="258"/>
        </pc:sldMkLst>
        <pc:spChg chg="mod">
          <ac:chgData name="TAYLOR, Ian" userId="0ceff34f-92d1-47cd-9819-bc44728b0f5b" providerId="ADAL" clId="{62D26C76-CF2C-485E-97DC-D2AB825CD61C}" dt="2023-11-23T11:18:06.311" v="155" actId="20577"/>
          <ac:spMkLst>
            <pc:docMk/>
            <pc:sldMk cId="383138653" sldId="258"/>
            <ac:spMk id="6" creationId="{D4051D0F-41A4-2C48-9306-C59A1AAAA4DC}"/>
          </ac:spMkLst>
        </pc:spChg>
        <pc:extLst>
          <p:ext xmlns:p="http://schemas.openxmlformats.org/presentationml/2006/main" uri="{D6D511B9-2390-475A-947B-AFAB55BFBCF1}">
            <pc226:cmChg xmlns:pc226="http://schemas.microsoft.com/office/powerpoint/2022/06/main/command" chg="add">
              <pc226:chgData name="TAYLOR, Ian" userId="0ceff34f-92d1-47cd-9819-bc44728b0f5b" providerId="ADAL" clId="{62D26C76-CF2C-485E-97DC-D2AB825CD61C}" dt="2023-11-23T11:26:43.387" v="160"/>
              <pc2:cmMkLst xmlns:pc2="http://schemas.microsoft.com/office/powerpoint/2019/9/main/command">
                <pc:docMk/>
                <pc:sldMk cId="383138653" sldId="258"/>
                <pc2:cmMk id="{F6BFDB0F-CEEC-429C-8FB7-34E016793FE6}"/>
              </pc2:cmMkLst>
            </pc226:cmChg>
            <pc226:cmChg xmlns:pc226="http://schemas.microsoft.com/office/powerpoint/2022/06/main/command" chg="add">
              <pc226:chgData name="TAYLOR, Ian" userId="0ceff34f-92d1-47cd-9819-bc44728b0f5b" providerId="ADAL" clId="{62D26C76-CF2C-485E-97DC-D2AB825CD61C}" dt="2023-11-23T11:20:34.029" v="156"/>
              <pc2:cmMkLst xmlns:pc2="http://schemas.microsoft.com/office/powerpoint/2019/9/main/command">
                <pc:docMk/>
                <pc:sldMk cId="383138653" sldId="258"/>
                <pc2:cmMk id="{E53F3423-F2E4-41F0-8155-627BAA8C632A}"/>
              </pc2:cmMkLst>
            </pc226:cmChg>
            <pc226:cmChg xmlns:pc226="http://schemas.microsoft.com/office/powerpoint/2022/06/main/command" chg="add">
              <pc226:chgData name="TAYLOR, Ian" userId="0ceff34f-92d1-47cd-9819-bc44728b0f5b" providerId="ADAL" clId="{62D26C76-CF2C-485E-97DC-D2AB825CD61C}" dt="2023-11-23T11:25:46.698" v="159"/>
              <pc2:cmMkLst xmlns:pc2="http://schemas.microsoft.com/office/powerpoint/2019/9/main/command">
                <pc:docMk/>
                <pc:sldMk cId="383138653" sldId="258"/>
                <pc2:cmMk id="{A832483F-946C-4E8D-B74F-75BF6314F6D1}"/>
              </pc2:cmMkLst>
            </pc226:cmChg>
            <pc226:cmChg xmlns:pc226="http://schemas.microsoft.com/office/powerpoint/2022/06/main/command" chg="add">
              <pc226:chgData name="TAYLOR, Ian" userId="0ceff34f-92d1-47cd-9819-bc44728b0f5b" providerId="ADAL" clId="{62D26C76-CF2C-485E-97DC-D2AB825CD61C}" dt="2023-11-23T11:24:57.899" v="158"/>
              <pc2:cmMkLst xmlns:pc2="http://schemas.microsoft.com/office/powerpoint/2019/9/main/command">
                <pc:docMk/>
                <pc:sldMk cId="383138653" sldId="258"/>
                <pc2:cmMk id="{EED5354F-7914-43FA-8793-552F5B599A56}"/>
              </pc2:cmMkLst>
            </pc226:cmChg>
            <pc226:cmChg xmlns:pc226="http://schemas.microsoft.com/office/powerpoint/2022/06/main/command" chg="add">
              <pc226:chgData name="TAYLOR, Ian" userId="0ceff34f-92d1-47cd-9819-bc44728b0f5b" providerId="ADAL" clId="{62D26C76-CF2C-485E-97DC-D2AB825CD61C}" dt="2023-11-23T11:22:30.880" v="157"/>
              <pc2:cmMkLst xmlns:pc2="http://schemas.microsoft.com/office/powerpoint/2019/9/main/command">
                <pc:docMk/>
                <pc:sldMk cId="383138653" sldId="258"/>
                <pc2:cmMk id="{F6A569EC-2789-4B87-A278-03DFA2FB9FBE}"/>
              </pc2:cmMkLst>
            </pc226:cmChg>
          </p:ext>
        </pc:extLst>
      </pc:sldChg>
      <pc:sldChg chg="addCm">
        <pc:chgData name="TAYLOR, Ian" userId="0ceff34f-92d1-47cd-9819-bc44728b0f5b" providerId="ADAL" clId="{62D26C76-CF2C-485E-97DC-D2AB825CD61C}" dt="2023-11-23T11:27:53.953" v="162"/>
        <pc:sldMkLst>
          <pc:docMk/>
          <pc:sldMk cId="1101493986" sldId="259"/>
        </pc:sldMkLst>
        <pc:extLst>
          <p:ext xmlns:p="http://schemas.openxmlformats.org/presentationml/2006/main" uri="{D6D511B9-2390-475A-947B-AFAB55BFBCF1}">
            <pc226:cmChg xmlns:pc226="http://schemas.microsoft.com/office/powerpoint/2022/06/main/command" chg="add">
              <pc226:chgData name="TAYLOR, Ian" userId="0ceff34f-92d1-47cd-9819-bc44728b0f5b" providerId="ADAL" clId="{62D26C76-CF2C-485E-97DC-D2AB825CD61C}" dt="2023-11-23T11:27:53.953" v="162"/>
              <pc2:cmMkLst xmlns:pc2="http://schemas.microsoft.com/office/powerpoint/2019/9/main/command">
                <pc:docMk/>
                <pc:sldMk cId="1101493986" sldId="259"/>
                <pc2:cmMk id="{95025F26-EBD7-4B6D-A6D4-6689BA60B718}"/>
              </pc2:cmMkLst>
            </pc226:cmChg>
            <pc226:cmChg xmlns:pc226="http://schemas.microsoft.com/office/powerpoint/2022/06/main/command" chg="add">
              <pc226:chgData name="TAYLOR, Ian" userId="0ceff34f-92d1-47cd-9819-bc44728b0f5b" providerId="ADAL" clId="{62D26C76-CF2C-485E-97DC-D2AB825CD61C}" dt="2023-11-23T11:27:14.290" v="161"/>
              <pc2:cmMkLst xmlns:pc2="http://schemas.microsoft.com/office/powerpoint/2019/9/main/command">
                <pc:docMk/>
                <pc:sldMk cId="1101493986" sldId="259"/>
                <pc2:cmMk id="{8C38D3DE-C9ED-45D5-895A-19FE06BCBA8E}"/>
              </pc2:cmMkLst>
            </pc226:cmChg>
          </p:ext>
        </pc:extLst>
      </pc:sldChg>
      <pc:sldChg chg="addCm">
        <pc:chgData name="TAYLOR, Ian" userId="0ceff34f-92d1-47cd-9819-bc44728b0f5b" providerId="ADAL" clId="{62D26C76-CF2C-485E-97DC-D2AB825CD61C}" dt="2023-11-23T11:39:39.791" v="164"/>
        <pc:sldMkLst>
          <pc:docMk/>
          <pc:sldMk cId="15499445" sldId="261"/>
        </pc:sldMkLst>
        <pc:extLst>
          <p:ext xmlns:p="http://schemas.openxmlformats.org/presentationml/2006/main" uri="{D6D511B9-2390-475A-947B-AFAB55BFBCF1}">
            <pc226:cmChg xmlns:pc226="http://schemas.microsoft.com/office/powerpoint/2022/06/main/command" chg="add">
              <pc226:chgData name="TAYLOR, Ian" userId="0ceff34f-92d1-47cd-9819-bc44728b0f5b" providerId="ADAL" clId="{62D26C76-CF2C-485E-97DC-D2AB825CD61C}" dt="2023-11-23T11:28:59.570" v="163"/>
              <pc2:cmMkLst xmlns:pc2="http://schemas.microsoft.com/office/powerpoint/2019/9/main/command">
                <pc:docMk/>
                <pc:sldMk cId="15499445" sldId="261"/>
                <pc2:cmMk id="{7AA5A8B2-4105-4DC5-8248-B31012C357CE}"/>
              </pc2:cmMkLst>
            </pc226:cmChg>
            <pc226:cmChg xmlns:pc226="http://schemas.microsoft.com/office/powerpoint/2022/06/main/command" chg="add">
              <pc226:chgData name="TAYLOR, Ian" userId="0ceff34f-92d1-47cd-9819-bc44728b0f5b" providerId="ADAL" clId="{62D26C76-CF2C-485E-97DC-D2AB825CD61C}" dt="2023-11-23T11:39:39.791" v="164"/>
              <pc2:cmMkLst xmlns:pc2="http://schemas.microsoft.com/office/powerpoint/2019/9/main/command">
                <pc:docMk/>
                <pc:sldMk cId="15499445" sldId="261"/>
                <pc2:cmMk id="{E1C140E9-61A8-4F72-BCB1-4A70EDA5FE78}"/>
              </pc2:cmMkLst>
            </pc226:cmChg>
          </p:ext>
        </pc:extLst>
      </pc:sldChg>
      <pc:sldChg chg="addCm">
        <pc:chgData name="TAYLOR, Ian" userId="0ceff34f-92d1-47cd-9819-bc44728b0f5b" providerId="ADAL" clId="{62D26C76-CF2C-485E-97DC-D2AB825CD61C}" dt="2023-11-23T11:40:29.830" v="165"/>
        <pc:sldMkLst>
          <pc:docMk/>
          <pc:sldMk cId="174021980" sldId="262"/>
        </pc:sldMkLst>
        <pc:extLst>
          <p:ext xmlns:p="http://schemas.openxmlformats.org/presentationml/2006/main" uri="{D6D511B9-2390-475A-947B-AFAB55BFBCF1}">
            <pc226:cmChg xmlns:pc226="http://schemas.microsoft.com/office/powerpoint/2022/06/main/command" chg="add">
              <pc226:chgData name="TAYLOR, Ian" userId="0ceff34f-92d1-47cd-9819-bc44728b0f5b" providerId="ADAL" clId="{62D26C76-CF2C-485E-97DC-D2AB825CD61C}" dt="2023-11-23T11:40:29.830" v="165"/>
              <pc2:cmMkLst xmlns:pc2="http://schemas.microsoft.com/office/powerpoint/2019/9/main/command">
                <pc:docMk/>
                <pc:sldMk cId="174021980" sldId="262"/>
                <pc2:cmMk id="{1725F3C5-5AD7-4BEB-98E0-D1D8D6B344C0}"/>
              </pc2:cmMkLst>
            </pc226:cmChg>
          </p:ext>
        </pc:extLst>
      </pc:sldChg>
    </pc:docChg>
  </pc:docChgLst>
  <pc:docChgLst>
    <pc:chgData name="WALKER, William" userId="22952978-5718-404d-bb8f-e86d461ff03c" providerId="ADAL" clId="{94A75A36-47B3-48E7-A95B-46F2FD266C0A}"/>
    <pc:docChg chg="undo custSel addSld delSld modSld sldOrd addSection modSection">
      <pc:chgData name="WALKER, William" userId="22952978-5718-404d-bb8f-e86d461ff03c" providerId="ADAL" clId="{94A75A36-47B3-48E7-A95B-46F2FD266C0A}" dt="2024-01-10T12:19:49.212" v="20207" actId="20577"/>
      <pc:docMkLst>
        <pc:docMk/>
      </pc:docMkLst>
      <pc:sldChg chg="modSp mod">
        <pc:chgData name="WALKER, William" userId="22952978-5718-404d-bb8f-e86d461ff03c" providerId="ADAL" clId="{94A75A36-47B3-48E7-A95B-46F2FD266C0A}" dt="2023-11-23T10:49:36.126" v="5919" actId="120"/>
        <pc:sldMkLst>
          <pc:docMk/>
          <pc:sldMk cId="2606472499" sldId="256"/>
        </pc:sldMkLst>
        <pc:spChg chg="mod">
          <ac:chgData name="WALKER, William" userId="22952978-5718-404d-bb8f-e86d461ff03c" providerId="ADAL" clId="{94A75A36-47B3-48E7-A95B-46F2FD266C0A}" dt="2023-11-23T10:49:36.126" v="5919" actId="120"/>
          <ac:spMkLst>
            <pc:docMk/>
            <pc:sldMk cId="2606472499" sldId="256"/>
            <ac:spMk id="2" creationId="{A3609CE9-7C0A-333B-1FFD-2209B7E4C487}"/>
          </ac:spMkLst>
        </pc:spChg>
        <pc:spChg chg="mod">
          <ac:chgData name="WALKER, William" userId="22952978-5718-404d-bb8f-e86d461ff03c" providerId="ADAL" clId="{94A75A36-47B3-48E7-A95B-46F2FD266C0A}" dt="2023-11-23T10:49:36.126" v="5919" actId="120"/>
          <ac:spMkLst>
            <pc:docMk/>
            <pc:sldMk cId="2606472499" sldId="256"/>
            <ac:spMk id="3" creationId="{E0942304-841B-BF81-FF63-E43B1A459F2D}"/>
          </ac:spMkLst>
        </pc:spChg>
      </pc:sldChg>
      <pc:sldChg chg="addSp delSp modSp mod modCm">
        <pc:chgData name="WALKER, William" userId="22952978-5718-404d-bb8f-e86d461ff03c" providerId="ADAL" clId="{94A75A36-47B3-48E7-A95B-46F2FD266C0A}" dt="2023-11-23T11:41:19.835" v="8235" actId="1076"/>
        <pc:sldMkLst>
          <pc:docMk/>
          <pc:sldMk cId="2740658093" sldId="257"/>
        </pc:sldMkLst>
        <pc:spChg chg="mod">
          <ac:chgData name="WALKER, William" userId="22952978-5718-404d-bb8f-e86d461ff03c" providerId="ADAL" clId="{94A75A36-47B3-48E7-A95B-46F2FD266C0A}" dt="2023-11-23T09:17:28.173" v="558" actId="1076"/>
          <ac:spMkLst>
            <pc:docMk/>
            <pc:sldMk cId="2740658093" sldId="257"/>
            <ac:spMk id="2" creationId="{CC7DE688-4674-1909-F481-4A78135E65F9}"/>
          </ac:spMkLst>
        </pc:spChg>
        <pc:spChg chg="mod">
          <ac:chgData name="WALKER, William" userId="22952978-5718-404d-bb8f-e86d461ff03c" providerId="ADAL" clId="{94A75A36-47B3-48E7-A95B-46F2FD266C0A}" dt="2023-11-23T09:12:03.007" v="422" actId="113"/>
          <ac:spMkLst>
            <pc:docMk/>
            <pc:sldMk cId="2740658093" sldId="257"/>
            <ac:spMk id="4" creationId="{4C8F1710-D6A2-A804-63D7-0F7D40027055}"/>
          </ac:spMkLst>
        </pc:spChg>
        <pc:spChg chg="mod">
          <ac:chgData name="WALKER, William" userId="22952978-5718-404d-bb8f-e86d461ff03c" providerId="ADAL" clId="{94A75A36-47B3-48E7-A95B-46F2FD266C0A}" dt="2023-11-23T09:19:23.443" v="765" actId="313"/>
          <ac:spMkLst>
            <pc:docMk/>
            <pc:sldMk cId="2740658093" sldId="257"/>
            <ac:spMk id="5" creationId="{290929A1-B17F-57FF-DA2E-25B78AD974B2}"/>
          </ac:spMkLst>
        </pc:spChg>
        <pc:spChg chg="mod">
          <ac:chgData name="WALKER, William" userId="22952978-5718-404d-bb8f-e86d461ff03c" providerId="ADAL" clId="{94A75A36-47B3-48E7-A95B-46F2FD266C0A}" dt="2023-11-23T09:19:43.269" v="768" actId="1076"/>
          <ac:spMkLst>
            <pc:docMk/>
            <pc:sldMk cId="2740658093" sldId="257"/>
            <ac:spMk id="6" creationId="{65CDDF0C-442A-BC4C-E624-221A91787B88}"/>
          </ac:spMkLst>
        </pc:spChg>
        <pc:spChg chg="mod">
          <ac:chgData name="WALKER, William" userId="22952978-5718-404d-bb8f-e86d461ff03c" providerId="ADAL" clId="{94A75A36-47B3-48E7-A95B-46F2FD266C0A}" dt="2023-11-23T11:21:38.509" v="7976" actId="14100"/>
          <ac:spMkLst>
            <pc:docMk/>
            <pc:sldMk cId="2740658093" sldId="257"/>
            <ac:spMk id="7" creationId="{AC078095-AD2C-8D22-B3F1-8BB63FB941D3}"/>
          </ac:spMkLst>
        </pc:spChg>
        <pc:spChg chg="mod">
          <ac:chgData name="WALKER, William" userId="22952978-5718-404d-bb8f-e86d461ff03c" providerId="ADAL" clId="{94A75A36-47B3-48E7-A95B-46F2FD266C0A}" dt="2023-11-23T09:15:10.059" v="536" actId="1076"/>
          <ac:spMkLst>
            <pc:docMk/>
            <pc:sldMk cId="2740658093" sldId="257"/>
            <ac:spMk id="8" creationId="{2D46DE8B-118D-68C1-AB5B-04BCBBB7F298}"/>
          </ac:spMkLst>
        </pc:spChg>
        <pc:spChg chg="mod">
          <ac:chgData name="WALKER, William" userId="22952978-5718-404d-bb8f-e86d461ff03c" providerId="ADAL" clId="{94A75A36-47B3-48E7-A95B-46F2FD266C0A}" dt="2023-11-23T09:17:05.285" v="555" actId="1076"/>
          <ac:spMkLst>
            <pc:docMk/>
            <pc:sldMk cId="2740658093" sldId="257"/>
            <ac:spMk id="9" creationId="{C9FA2DCC-945E-7503-4FB9-69E3581D71A5}"/>
          </ac:spMkLst>
        </pc:spChg>
        <pc:spChg chg="mod">
          <ac:chgData name="WALKER, William" userId="22952978-5718-404d-bb8f-e86d461ff03c" providerId="ADAL" clId="{94A75A36-47B3-48E7-A95B-46F2FD266C0A}" dt="2023-11-23T09:17:03.843" v="554" actId="1076"/>
          <ac:spMkLst>
            <pc:docMk/>
            <pc:sldMk cId="2740658093" sldId="257"/>
            <ac:spMk id="10" creationId="{F9C8872F-9D9A-A547-E7F6-8622E1654A08}"/>
          </ac:spMkLst>
        </pc:spChg>
        <pc:spChg chg="mod">
          <ac:chgData name="WALKER, William" userId="22952978-5718-404d-bb8f-e86d461ff03c" providerId="ADAL" clId="{94A75A36-47B3-48E7-A95B-46F2FD266C0A}" dt="2023-11-23T11:41:17.313" v="8234" actId="1076"/>
          <ac:spMkLst>
            <pc:docMk/>
            <pc:sldMk cId="2740658093" sldId="257"/>
            <ac:spMk id="11" creationId="{B224C80A-C5B6-CDE5-D446-2734B51A1846}"/>
          </ac:spMkLst>
        </pc:spChg>
        <pc:spChg chg="mod">
          <ac:chgData name="WALKER, William" userId="22952978-5718-404d-bb8f-e86d461ff03c" providerId="ADAL" clId="{94A75A36-47B3-48E7-A95B-46F2FD266C0A}" dt="2023-11-23T09:08:23.652" v="158" actId="1076"/>
          <ac:spMkLst>
            <pc:docMk/>
            <pc:sldMk cId="2740658093" sldId="257"/>
            <ac:spMk id="37" creationId="{12CAB00D-0888-E28F-E0C3-C70B4321EA50}"/>
          </ac:spMkLst>
        </pc:spChg>
        <pc:spChg chg="mod">
          <ac:chgData name="WALKER, William" userId="22952978-5718-404d-bb8f-e86d461ff03c" providerId="ADAL" clId="{94A75A36-47B3-48E7-A95B-46F2FD266C0A}" dt="2023-11-23T09:11:54.954" v="421" actId="113"/>
          <ac:spMkLst>
            <pc:docMk/>
            <pc:sldMk cId="2740658093" sldId="257"/>
            <ac:spMk id="62" creationId="{1D69369E-9AB0-77D9-08BD-94534C61ABB1}"/>
          </ac:spMkLst>
        </pc:spChg>
        <pc:spChg chg="mod">
          <ac:chgData name="WALKER, William" userId="22952978-5718-404d-bb8f-e86d461ff03c" providerId="ADAL" clId="{94A75A36-47B3-48E7-A95B-46F2FD266C0A}" dt="2023-11-23T09:11:52.507" v="420" actId="14100"/>
          <ac:spMkLst>
            <pc:docMk/>
            <pc:sldMk cId="2740658093" sldId="257"/>
            <ac:spMk id="65" creationId="{40CE267A-7C40-92F7-E929-CFA268E84D93}"/>
          </ac:spMkLst>
        </pc:spChg>
        <pc:spChg chg="add mod">
          <ac:chgData name="WALKER, William" userId="22952978-5718-404d-bb8f-e86d461ff03c" providerId="ADAL" clId="{94A75A36-47B3-48E7-A95B-46F2FD266C0A}" dt="2023-11-23T09:19:10.086" v="715" actId="1076"/>
          <ac:spMkLst>
            <pc:docMk/>
            <pc:sldMk cId="2740658093" sldId="257"/>
            <ac:spMk id="91" creationId="{A009F619-22F8-8B28-E987-2B816AAC0F36}"/>
          </ac:spMkLst>
        </pc:spChg>
        <pc:spChg chg="add mod">
          <ac:chgData name="WALKER, William" userId="22952978-5718-404d-bb8f-e86d461ff03c" providerId="ADAL" clId="{94A75A36-47B3-48E7-A95B-46F2FD266C0A}" dt="2023-11-23T10:48:14.386" v="5911" actId="14100"/>
          <ac:spMkLst>
            <pc:docMk/>
            <pc:sldMk cId="2740658093" sldId="257"/>
            <ac:spMk id="126" creationId="{66078ADC-CCA1-004F-8787-4E16174B1842}"/>
          </ac:spMkLst>
        </pc:spChg>
        <pc:spChg chg="add mod">
          <ac:chgData name="WALKER, William" userId="22952978-5718-404d-bb8f-e86d461ff03c" providerId="ADAL" clId="{94A75A36-47B3-48E7-A95B-46F2FD266C0A}" dt="2023-11-23T11:41:19.835" v="8235" actId="1076"/>
          <ac:spMkLst>
            <pc:docMk/>
            <pc:sldMk cId="2740658093" sldId="257"/>
            <ac:spMk id="149" creationId="{CCB83AFB-9DDB-11AF-254C-B697E9EC05FC}"/>
          </ac:spMkLst>
        </pc:spChg>
        <pc:cxnChg chg="mod">
          <ac:chgData name="WALKER, William" userId="22952978-5718-404d-bb8f-e86d461ff03c" providerId="ADAL" clId="{94A75A36-47B3-48E7-A95B-46F2FD266C0A}" dt="2023-11-23T09:17:05.285" v="555" actId="1076"/>
          <ac:cxnSpMkLst>
            <pc:docMk/>
            <pc:sldMk cId="2740658093" sldId="257"/>
            <ac:cxnSpMk id="13" creationId="{D64FC78E-B6E8-9BE2-0335-E36F73A4DCF4}"/>
          </ac:cxnSpMkLst>
        </pc:cxnChg>
        <pc:cxnChg chg="mod">
          <ac:chgData name="WALKER, William" userId="22952978-5718-404d-bb8f-e86d461ff03c" providerId="ADAL" clId="{94A75A36-47B3-48E7-A95B-46F2FD266C0A}" dt="2023-11-23T09:17:03.843" v="554" actId="1076"/>
          <ac:cxnSpMkLst>
            <pc:docMk/>
            <pc:sldMk cId="2740658093" sldId="257"/>
            <ac:cxnSpMk id="17" creationId="{368EEDAF-B3D9-0713-4FA2-CB3181463D95}"/>
          </ac:cxnSpMkLst>
        </pc:cxnChg>
        <pc:cxnChg chg="mod">
          <ac:chgData name="WALKER, William" userId="22952978-5718-404d-bb8f-e86d461ff03c" providerId="ADAL" clId="{94A75A36-47B3-48E7-A95B-46F2FD266C0A}" dt="2023-11-23T11:41:17.313" v="8234" actId="1076"/>
          <ac:cxnSpMkLst>
            <pc:docMk/>
            <pc:sldMk cId="2740658093" sldId="257"/>
            <ac:cxnSpMk id="20" creationId="{96536C8E-0CE2-D03A-C743-7AE8027C20D0}"/>
          </ac:cxnSpMkLst>
        </pc:cxnChg>
        <pc:cxnChg chg="mod">
          <ac:chgData name="WALKER, William" userId="22952978-5718-404d-bb8f-e86d461ff03c" providerId="ADAL" clId="{94A75A36-47B3-48E7-A95B-46F2FD266C0A}" dt="2023-11-23T09:19:22.237" v="764" actId="14100"/>
          <ac:cxnSpMkLst>
            <pc:docMk/>
            <pc:sldMk cId="2740658093" sldId="257"/>
            <ac:cxnSpMk id="23" creationId="{E4289326-64C2-13FB-F6AE-EF9286F193E3}"/>
          </ac:cxnSpMkLst>
        </pc:cxnChg>
        <pc:cxnChg chg="mod">
          <ac:chgData name="WALKER, William" userId="22952978-5718-404d-bb8f-e86d461ff03c" providerId="ADAL" clId="{94A75A36-47B3-48E7-A95B-46F2FD266C0A}" dt="2023-11-23T09:19:49.084" v="770" actId="14100"/>
          <ac:cxnSpMkLst>
            <pc:docMk/>
            <pc:sldMk cId="2740658093" sldId="257"/>
            <ac:cxnSpMk id="27" creationId="{54F1A7C2-B4A6-1BD7-060C-A509A60DB413}"/>
          </ac:cxnSpMkLst>
        </pc:cxnChg>
        <pc:cxnChg chg="mod">
          <ac:chgData name="WALKER, William" userId="22952978-5718-404d-bb8f-e86d461ff03c" providerId="ADAL" clId="{94A75A36-47B3-48E7-A95B-46F2FD266C0A}" dt="2023-11-23T09:19:22.237" v="764" actId="14100"/>
          <ac:cxnSpMkLst>
            <pc:docMk/>
            <pc:sldMk cId="2740658093" sldId="257"/>
            <ac:cxnSpMk id="32" creationId="{0AD98264-42B9-5F69-67D8-6025A8BECBEC}"/>
          </ac:cxnSpMkLst>
        </pc:cxnChg>
        <pc:cxnChg chg="mod">
          <ac:chgData name="WALKER, William" userId="22952978-5718-404d-bb8f-e86d461ff03c" providerId="ADAL" clId="{94A75A36-47B3-48E7-A95B-46F2FD266C0A}" dt="2023-11-23T09:19:46.645" v="769" actId="14100"/>
          <ac:cxnSpMkLst>
            <pc:docMk/>
            <pc:sldMk cId="2740658093" sldId="257"/>
            <ac:cxnSpMk id="40" creationId="{EA8FD327-F0EF-457D-F2DF-74DA6A070C24}"/>
          </ac:cxnSpMkLst>
        </pc:cxnChg>
        <pc:cxnChg chg="mod">
          <ac:chgData name="WALKER, William" userId="22952978-5718-404d-bb8f-e86d461ff03c" providerId="ADAL" clId="{94A75A36-47B3-48E7-A95B-46F2FD266C0A}" dt="2023-11-23T09:15:10.059" v="536" actId="1076"/>
          <ac:cxnSpMkLst>
            <pc:docMk/>
            <pc:sldMk cId="2740658093" sldId="257"/>
            <ac:cxnSpMk id="48" creationId="{9EC97012-9338-11DE-C8C4-BF90861BEB71}"/>
          </ac:cxnSpMkLst>
        </pc:cxnChg>
        <pc:cxnChg chg="mod">
          <ac:chgData name="WALKER, William" userId="22952978-5718-404d-bb8f-e86d461ff03c" providerId="ADAL" clId="{94A75A36-47B3-48E7-A95B-46F2FD266C0A}" dt="2023-11-23T11:21:38.509" v="7976" actId="14100"/>
          <ac:cxnSpMkLst>
            <pc:docMk/>
            <pc:sldMk cId="2740658093" sldId="257"/>
            <ac:cxnSpMk id="51" creationId="{0909D04D-C814-4124-7424-F52393F7B25E}"/>
          </ac:cxnSpMkLst>
        </pc:cxnChg>
        <pc:cxnChg chg="add mod">
          <ac:chgData name="WALKER, William" userId="22952978-5718-404d-bb8f-e86d461ff03c" providerId="ADAL" clId="{94A75A36-47B3-48E7-A95B-46F2FD266C0A}" dt="2023-11-23T09:19:22.237" v="764" actId="14100"/>
          <ac:cxnSpMkLst>
            <pc:docMk/>
            <pc:sldMk cId="2740658093" sldId="257"/>
            <ac:cxnSpMk id="92" creationId="{272B2CD0-C32B-E01B-D5DE-4A6EB29DD801}"/>
          </ac:cxnSpMkLst>
        </pc:cxnChg>
        <pc:cxnChg chg="add mod">
          <ac:chgData name="WALKER, William" userId="22952978-5718-404d-bb8f-e86d461ff03c" providerId="ADAL" clId="{94A75A36-47B3-48E7-A95B-46F2FD266C0A}" dt="2023-11-23T11:21:38.509" v="7976" actId="14100"/>
          <ac:cxnSpMkLst>
            <pc:docMk/>
            <pc:sldMk cId="2740658093" sldId="257"/>
            <ac:cxnSpMk id="127" creationId="{A113E5B5-F5AD-56DB-CC82-BF5F6BC0B14A}"/>
          </ac:cxnSpMkLst>
        </pc:cxnChg>
        <pc:cxnChg chg="add del mod">
          <ac:chgData name="WALKER, William" userId="22952978-5718-404d-bb8f-e86d461ff03c" providerId="ADAL" clId="{94A75A36-47B3-48E7-A95B-46F2FD266C0A}" dt="2023-11-23T09:12:07.421" v="424"/>
          <ac:cxnSpMkLst>
            <pc:docMk/>
            <pc:sldMk cId="2740658093" sldId="257"/>
            <ac:cxnSpMk id="143" creationId="{86BCF7CC-B259-FD53-EC2E-ACC8F5A8EF02}"/>
          </ac:cxnSpMkLst>
        </pc:cxnChg>
        <pc:cxnChg chg="add mod">
          <ac:chgData name="WALKER, William" userId="22952978-5718-404d-bb8f-e86d461ff03c" providerId="ADAL" clId="{94A75A36-47B3-48E7-A95B-46F2FD266C0A}" dt="2023-11-23T11:21:38.509" v="7976" actId="14100"/>
          <ac:cxnSpMkLst>
            <pc:docMk/>
            <pc:sldMk cId="2740658093" sldId="257"/>
            <ac:cxnSpMk id="153" creationId="{C11F77ED-E191-BC7D-6E1D-52C0BF1D2CEE}"/>
          </ac:cxnSpMkLst>
        </pc:cxnChg>
        <pc:cxnChg chg="add mod">
          <ac:chgData name="WALKER, William" userId="22952978-5718-404d-bb8f-e86d461ff03c" providerId="ADAL" clId="{94A75A36-47B3-48E7-A95B-46F2FD266C0A}" dt="2023-11-23T11:41:19.835" v="8235" actId="1076"/>
          <ac:cxnSpMkLst>
            <pc:docMk/>
            <pc:sldMk cId="2740658093" sldId="257"/>
            <ac:cxnSpMk id="159" creationId="{AAD19B29-96F9-9023-33E7-5360A7C64C62}"/>
          </ac:cxnSpMkLst>
        </pc:cxnChg>
        <pc:extLst>
          <p:ext xmlns:p="http://schemas.openxmlformats.org/presentationml/2006/main" uri="{D6D511B9-2390-475A-947B-AFAB55BFBCF1}">
            <pc226:cmChg xmlns:pc226="http://schemas.microsoft.com/office/powerpoint/2022/06/main/command" chg="mod modRxn">
              <pc226:chgData name="WALKER, William" userId="22952978-5718-404d-bb8f-e86d461ff03c" providerId="ADAL" clId="{94A75A36-47B3-48E7-A95B-46F2FD266C0A}" dt="2023-11-23T11:21:29.162" v="7972" actId="20577"/>
              <pc2:cmMkLst xmlns:pc2="http://schemas.microsoft.com/office/powerpoint/2019/9/main/command">
                <pc:docMk/>
                <pc:sldMk cId="2740658093" sldId="257"/>
                <pc2:cmMk id="{58C0F3A6-163D-41FB-9214-9F645CB63122}"/>
              </pc2:cmMkLst>
            </pc226:cmChg>
          </p:ext>
        </pc:extLst>
      </pc:sldChg>
      <pc:sldChg chg="addSp delSp modSp mod delCm modCm">
        <pc:chgData name="WALKER, William" userId="22952978-5718-404d-bb8f-e86d461ff03c" providerId="ADAL" clId="{94A75A36-47B3-48E7-A95B-46F2FD266C0A}" dt="2023-12-19T13:25:28.216" v="18698"/>
        <pc:sldMkLst>
          <pc:docMk/>
          <pc:sldMk cId="383138653" sldId="258"/>
        </pc:sldMkLst>
        <pc:spChg chg="mod">
          <ac:chgData name="WALKER, William" userId="22952978-5718-404d-bb8f-e86d461ff03c" providerId="ADAL" clId="{94A75A36-47B3-48E7-A95B-46F2FD266C0A}" dt="2023-11-23T12:04:13.834" v="8351" actId="20577"/>
          <ac:spMkLst>
            <pc:docMk/>
            <pc:sldMk cId="383138653" sldId="258"/>
            <ac:spMk id="2" creationId="{8D8AE454-D051-FE45-8627-B2D4AA93770A}"/>
          </ac:spMkLst>
        </pc:spChg>
        <pc:spChg chg="del mod">
          <ac:chgData name="WALKER, William" userId="22952978-5718-404d-bb8f-e86d461ff03c" providerId="ADAL" clId="{94A75A36-47B3-48E7-A95B-46F2FD266C0A}" dt="2023-11-23T09:20:18.653" v="794" actId="478"/>
          <ac:spMkLst>
            <pc:docMk/>
            <pc:sldMk cId="383138653" sldId="258"/>
            <ac:spMk id="3" creationId="{A565FD0C-D9EF-06AA-70E6-FC6FB682EA54}"/>
          </ac:spMkLst>
        </pc:spChg>
        <pc:spChg chg="add del mod">
          <ac:chgData name="WALKER, William" userId="22952978-5718-404d-bb8f-e86d461ff03c" providerId="ADAL" clId="{94A75A36-47B3-48E7-A95B-46F2FD266C0A}" dt="2023-11-23T09:20:20.533" v="795" actId="478"/>
          <ac:spMkLst>
            <pc:docMk/>
            <pc:sldMk cId="383138653" sldId="258"/>
            <ac:spMk id="5" creationId="{53A23E19-F8B4-6A11-3971-B311E267638F}"/>
          </ac:spMkLst>
        </pc:spChg>
        <pc:spChg chg="add del mod">
          <ac:chgData name="WALKER, William" userId="22952978-5718-404d-bb8f-e86d461ff03c" providerId="ADAL" clId="{94A75A36-47B3-48E7-A95B-46F2FD266C0A}" dt="2023-11-23T11:22:32.421" v="7982" actId="20577"/>
          <ac:spMkLst>
            <pc:docMk/>
            <pc:sldMk cId="383138653" sldId="258"/>
            <ac:spMk id="6" creationId="{D4051D0F-41A4-2C48-9306-C59A1AAAA4DC}"/>
          </ac:spMkLst>
        </pc:spChg>
        <pc:spChg chg="add mod">
          <ac:chgData name="WALKER, William" userId="22952978-5718-404d-bb8f-e86d461ff03c" providerId="ADAL" clId="{94A75A36-47B3-48E7-A95B-46F2FD266C0A}" dt="2023-11-23T12:03:08.533" v="8236" actId="1076"/>
          <ac:spMkLst>
            <pc:docMk/>
            <pc:sldMk cId="383138653" sldId="258"/>
            <ac:spMk id="7" creationId="{2AC94C8B-DF42-2791-17CF-5625E9DBC2C4}"/>
          </ac:spMkLst>
        </pc:spChg>
        <pc:spChg chg="add mod">
          <ac:chgData name="WALKER, William" userId="22952978-5718-404d-bb8f-e86d461ff03c" providerId="ADAL" clId="{94A75A36-47B3-48E7-A95B-46F2FD266C0A}" dt="2023-11-23T11:06:48.201" v="6818" actId="1076"/>
          <ac:spMkLst>
            <pc:docMk/>
            <pc:sldMk cId="383138653" sldId="258"/>
            <ac:spMk id="8" creationId="{7D7C49DD-5C31-3B06-D6BC-105FD4E8F39A}"/>
          </ac:spMkLst>
        </pc:spChg>
        <pc:extLst>
          <p:ext xmlns:p="http://schemas.openxmlformats.org/presentationml/2006/main" uri="{D6D511B9-2390-475A-947B-AFAB55BFBCF1}">
            <pc226:cmChg xmlns:pc226="http://schemas.microsoft.com/office/powerpoint/2022/06/main/command" chg="mod">
              <pc226:chgData name="WALKER, William" userId="22952978-5718-404d-bb8f-e86d461ff03c" providerId="ADAL" clId="{94A75A36-47B3-48E7-A95B-46F2FD266C0A}" dt="2023-11-23T11:22:32.421" v="7982" actId="20577"/>
              <pc2:cmMkLst xmlns:pc2="http://schemas.microsoft.com/office/powerpoint/2019/9/main/command">
                <pc:docMk/>
                <pc:sldMk cId="383138653" sldId="258"/>
                <pc2:cmMk id="{E53F3423-F2E4-41F0-8155-627BAA8C632A}"/>
              </pc2:cmMkLst>
            </pc226:cmChg>
            <pc226:cmChg xmlns:pc226="http://schemas.microsoft.com/office/powerpoint/2022/06/main/command" chg="del">
              <pc226:chgData name="WALKER, William" userId="22952978-5718-404d-bb8f-e86d461ff03c" providerId="ADAL" clId="{94A75A36-47B3-48E7-A95B-46F2FD266C0A}" dt="2023-12-19T13:25:28.216" v="18698"/>
              <pc2:cmMkLst xmlns:pc2="http://schemas.microsoft.com/office/powerpoint/2019/9/main/command">
                <pc:docMk/>
                <pc:sldMk cId="383138653" sldId="258"/>
                <pc2:cmMk id="{F6A569EC-2789-4B87-A278-03DFA2FB9FBE}"/>
              </pc2:cmMkLst>
            </pc226:cmChg>
          </p:ext>
        </pc:extLst>
      </pc:sldChg>
      <pc:sldChg chg="addSp delSp modSp mod">
        <pc:chgData name="WALKER, William" userId="22952978-5718-404d-bb8f-e86d461ff03c" providerId="ADAL" clId="{94A75A36-47B3-48E7-A95B-46F2FD266C0A}" dt="2023-11-23T11:15:47.258" v="7673" actId="1076"/>
        <pc:sldMkLst>
          <pc:docMk/>
          <pc:sldMk cId="1101493986" sldId="259"/>
        </pc:sldMkLst>
        <pc:spChg chg="mod">
          <ac:chgData name="WALKER, William" userId="22952978-5718-404d-bb8f-e86d461ff03c" providerId="ADAL" clId="{94A75A36-47B3-48E7-A95B-46F2FD266C0A}" dt="2023-11-23T09:56:16.414" v="4096" actId="14100"/>
          <ac:spMkLst>
            <pc:docMk/>
            <pc:sldMk cId="1101493986" sldId="259"/>
            <ac:spMk id="2" creationId="{0251D97F-8E41-5D3F-2F21-E8A1ADFA67AC}"/>
          </ac:spMkLst>
        </pc:spChg>
        <pc:spChg chg="del">
          <ac:chgData name="WALKER, William" userId="22952978-5718-404d-bb8f-e86d461ff03c" providerId="ADAL" clId="{94A75A36-47B3-48E7-A95B-46F2FD266C0A}" dt="2023-11-23T09:22:04.914" v="906" actId="478"/>
          <ac:spMkLst>
            <pc:docMk/>
            <pc:sldMk cId="1101493986" sldId="259"/>
            <ac:spMk id="3" creationId="{51F59B4A-5A90-3EC7-E8AA-ED30096CFDC2}"/>
          </ac:spMkLst>
        </pc:spChg>
        <pc:spChg chg="add mod">
          <ac:chgData name="WALKER, William" userId="22952978-5718-404d-bb8f-e86d461ff03c" providerId="ADAL" clId="{94A75A36-47B3-48E7-A95B-46F2FD266C0A}" dt="2023-11-23T11:13:15.949" v="7475" actId="313"/>
          <ac:spMkLst>
            <pc:docMk/>
            <pc:sldMk cId="1101493986" sldId="259"/>
            <ac:spMk id="4" creationId="{6F99F926-4834-7987-D5C3-AFB5D1EBE45C}"/>
          </ac:spMkLst>
        </pc:spChg>
        <pc:spChg chg="add mod">
          <ac:chgData name="WALKER, William" userId="22952978-5718-404d-bb8f-e86d461ff03c" providerId="ADAL" clId="{94A75A36-47B3-48E7-A95B-46F2FD266C0A}" dt="2023-11-23T11:15:47.258" v="7673" actId="1076"/>
          <ac:spMkLst>
            <pc:docMk/>
            <pc:sldMk cId="1101493986" sldId="259"/>
            <ac:spMk id="5" creationId="{6038B0EF-B992-B909-2C27-E352E9D81B38}"/>
          </ac:spMkLst>
        </pc:spChg>
        <pc:spChg chg="add mod">
          <ac:chgData name="WALKER, William" userId="22952978-5718-404d-bb8f-e86d461ff03c" providerId="ADAL" clId="{94A75A36-47B3-48E7-A95B-46F2FD266C0A}" dt="2023-11-23T11:15:00.932" v="7555" actId="20577"/>
          <ac:spMkLst>
            <pc:docMk/>
            <pc:sldMk cId="1101493986" sldId="259"/>
            <ac:spMk id="6" creationId="{E51BF0D1-B39A-38DE-BB7A-F15281E5A156}"/>
          </ac:spMkLst>
        </pc:spChg>
      </pc:sldChg>
      <pc:sldChg chg="addSp delSp modSp mod">
        <pc:chgData name="WALKER, William" userId="22952978-5718-404d-bb8f-e86d461ff03c" providerId="ADAL" clId="{94A75A36-47B3-48E7-A95B-46F2FD266C0A}" dt="2023-11-23T11:13:28.886" v="7496" actId="313"/>
        <pc:sldMkLst>
          <pc:docMk/>
          <pc:sldMk cId="654453255" sldId="260"/>
        </pc:sldMkLst>
        <pc:spChg chg="mod">
          <ac:chgData name="WALKER, William" userId="22952978-5718-404d-bb8f-e86d461ff03c" providerId="ADAL" clId="{94A75A36-47B3-48E7-A95B-46F2FD266C0A}" dt="2023-11-23T09:29:14.412" v="1503" actId="20577"/>
          <ac:spMkLst>
            <pc:docMk/>
            <pc:sldMk cId="654453255" sldId="260"/>
            <ac:spMk id="2" creationId="{DD4F3FC2-F444-7206-6D09-616DF3E54D74}"/>
          </ac:spMkLst>
        </pc:spChg>
        <pc:spChg chg="del">
          <ac:chgData name="WALKER, William" userId="22952978-5718-404d-bb8f-e86d461ff03c" providerId="ADAL" clId="{94A75A36-47B3-48E7-A95B-46F2FD266C0A}" dt="2023-11-23T09:22:07.770" v="908" actId="478"/>
          <ac:spMkLst>
            <pc:docMk/>
            <pc:sldMk cId="654453255" sldId="260"/>
            <ac:spMk id="3" creationId="{8F50EF74-31C2-FED5-E12B-91EC90ACD2EB}"/>
          </ac:spMkLst>
        </pc:spChg>
        <pc:spChg chg="add mod">
          <ac:chgData name="WALKER, William" userId="22952978-5718-404d-bb8f-e86d461ff03c" providerId="ADAL" clId="{94A75A36-47B3-48E7-A95B-46F2FD266C0A}" dt="2023-11-23T11:13:28.886" v="7496" actId="313"/>
          <ac:spMkLst>
            <pc:docMk/>
            <pc:sldMk cId="654453255" sldId="260"/>
            <ac:spMk id="4" creationId="{49DD399B-F4D8-8014-B5B9-6B2F350F1D69}"/>
          </ac:spMkLst>
        </pc:spChg>
        <pc:spChg chg="add mod">
          <ac:chgData name="WALKER, William" userId="22952978-5718-404d-bb8f-e86d461ff03c" providerId="ADAL" clId="{94A75A36-47B3-48E7-A95B-46F2FD266C0A}" dt="2023-11-23T10:46:17.851" v="5817" actId="20577"/>
          <ac:spMkLst>
            <pc:docMk/>
            <pc:sldMk cId="654453255" sldId="260"/>
            <ac:spMk id="5" creationId="{FA5DF274-F24C-8BD2-F67A-37619CDD4339}"/>
          </ac:spMkLst>
        </pc:spChg>
        <pc:spChg chg="add mod">
          <ac:chgData name="WALKER, William" userId="22952978-5718-404d-bb8f-e86d461ff03c" providerId="ADAL" clId="{94A75A36-47B3-48E7-A95B-46F2FD266C0A}" dt="2023-11-23T10:47:39.641" v="5862" actId="1076"/>
          <ac:spMkLst>
            <pc:docMk/>
            <pc:sldMk cId="654453255" sldId="260"/>
            <ac:spMk id="6" creationId="{5EA3CB53-9E8C-F5A7-A50C-E7A8B37BCC8C}"/>
          </ac:spMkLst>
        </pc:spChg>
      </pc:sldChg>
      <pc:sldChg chg="addSp delSp modSp new mod">
        <pc:chgData name="WALKER, William" userId="22952978-5718-404d-bb8f-e86d461ff03c" providerId="ADAL" clId="{94A75A36-47B3-48E7-A95B-46F2FD266C0A}" dt="2023-11-23T11:12:04.534" v="7321" actId="14100"/>
        <pc:sldMkLst>
          <pc:docMk/>
          <pc:sldMk cId="15499445" sldId="261"/>
        </pc:sldMkLst>
        <pc:spChg chg="mod">
          <ac:chgData name="WALKER, William" userId="22952978-5718-404d-bb8f-e86d461ff03c" providerId="ADAL" clId="{94A75A36-47B3-48E7-A95B-46F2FD266C0A}" dt="2023-11-23T09:02:54.100" v="47" actId="20577"/>
          <ac:spMkLst>
            <pc:docMk/>
            <pc:sldMk cId="15499445" sldId="261"/>
            <ac:spMk id="2" creationId="{92488033-D6B0-E395-136B-3E5B7D68AB35}"/>
          </ac:spMkLst>
        </pc:spChg>
        <pc:spChg chg="del">
          <ac:chgData name="WALKER, William" userId="22952978-5718-404d-bb8f-e86d461ff03c" providerId="ADAL" clId="{94A75A36-47B3-48E7-A95B-46F2FD266C0A}" dt="2023-11-23T09:22:11.853" v="910" actId="478"/>
          <ac:spMkLst>
            <pc:docMk/>
            <pc:sldMk cId="15499445" sldId="261"/>
            <ac:spMk id="3" creationId="{17D83670-7783-68F7-0825-4BD950CBA973}"/>
          </ac:spMkLst>
        </pc:spChg>
        <pc:spChg chg="add mod">
          <ac:chgData name="WALKER, William" userId="22952978-5718-404d-bb8f-e86d461ff03c" providerId="ADAL" clId="{94A75A36-47B3-48E7-A95B-46F2FD266C0A}" dt="2023-11-23T11:11:49.199" v="7318" actId="20577"/>
          <ac:spMkLst>
            <pc:docMk/>
            <pc:sldMk cId="15499445" sldId="261"/>
            <ac:spMk id="4" creationId="{A853B0FC-775E-22D3-57A7-BDD9C744E8FB}"/>
          </ac:spMkLst>
        </pc:spChg>
        <pc:spChg chg="add mod">
          <ac:chgData name="WALKER, William" userId="22952978-5718-404d-bb8f-e86d461ff03c" providerId="ADAL" clId="{94A75A36-47B3-48E7-A95B-46F2FD266C0A}" dt="2023-11-23T11:12:04.534" v="7321" actId="14100"/>
          <ac:spMkLst>
            <pc:docMk/>
            <pc:sldMk cId="15499445" sldId="261"/>
            <ac:spMk id="5" creationId="{38BD868C-22F3-7E71-CD02-782EDE246FB9}"/>
          </ac:spMkLst>
        </pc:spChg>
        <pc:spChg chg="add mod">
          <ac:chgData name="WALKER, William" userId="22952978-5718-404d-bb8f-e86d461ff03c" providerId="ADAL" clId="{94A75A36-47B3-48E7-A95B-46F2FD266C0A}" dt="2023-11-23T11:11:24.878" v="7315" actId="14100"/>
          <ac:spMkLst>
            <pc:docMk/>
            <pc:sldMk cId="15499445" sldId="261"/>
            <ac:spMk id="6" creationId="{DEBA8D5D-FF9B-0F6D-4E9B-BB7BFBCB8F19}"/>
          </ac:spMkLst>
        </pc:spChg>
      </pc:sldChg>
      <pc:sldChg chg="addSp delSp modSp new mod">
        <pc:chgData name="WALKER, William" userId="22952978-5718-404d-bb8f-e86d461ff03c" providerId="ADAL" clId="{94A75A36-47B3-48E7-A95B-46F2FD266C0A}" dt="2023-11-23T11:12:51.328" v="7451" actId="20577"/>
        <pc:sldMkLst>
          <pc:docMk/>
          <pc:sldMk cId="174021980" sldId="262"/>
        </pc:sldMkLst>
        <pc:spChg chg="mod">
          <ac:chgData name="WALKER, William" userId="22952978-5718-404d-bb8f-e86d461ff03c" providerId="ADAL" clId="{94A75A36-47B3-48E7-A95B-46F2FD266C0A}" dt="2023-11-23T11:09:51.890" v="7146" actId="1076"/>
          <ac:spMkLst>
            <pc:docMk/>
            <pc:sldMk cId="174021980" sldId="262"/>
            <ac:spMk id="2" creationId="{C1D812AE-EA20-92BE-5E47-A6E9D69ADD02}"/>
          </ac:spMkLst>
        </pc:spChg>
        <pc:spChg chg="del">
          <ac:chgData name="WALKER, William" userId="22952978-5718-404d-bb8f-e86d461ff03c" providerId="ADAL" clId="{94A75A36-47B3-48E7-A95B-46F2FD266C0A}" dt="2023-11-23T09:22:14.875" v="912" actId="478"/>
          <ac:spMkLst>
            <pc:docMk/>
            <pc:sldMk cId="174021980" sldId="262"/>
            <ac:spMk id="3" creationId="{C6C90A9B-C3C8-4DF3-9189-9B366A4ED01F}"/>
          </ac:spMkLst>
        </pc:spChg>
        <pc:spChg chg="add mod">
          <ac:chgData name="WALKER, William" userId="22952978-5718-404d-bb8f-e86d461ff03c" providerId="ADAL" clId="{94A75A36-47B3-48E7-A95B-46F2FD266C0A}" dt="2023-11-23T11:09:52.906" v="7147" actId="1076"/>
          <ac:spMkLst>
            <pc:docMk/>
            <pc:sldMk cId="174021980" sldId="262"/>
            <ac:spMk id="4" creationId="{0FA1A745-0F94-415E-F1FC-07B15FB41C91}"/>
          </ac:spMkLst>
        </pc:spChg>
        <pc:spChg chg="add mod">
          <ac:chgData name="WALKER, William" userId="22952978-5718-404d-bb8f-e86d461ff03c" providerId="ADAL" clId="{94A75A36-47B3-48E7-A95B-46F2FD266C0A}" dt="2023-11-23T11:09:54.803" v="7148" actId="1076"/>
          <ac:spMkLst>
            <pc:docMk/>
            <pc:sldMk cId="174021980" sldId="262"/>
            <ac:spMk id="5" creationId="{0D2D662D-C46A-8ECB-DF9A-0C541E4F8EE0}"/>
          </ac:spMkLst>
        </pc:spChg>
        <pc:spChg chg="add mod">
          <ac:chgData name="WALKER, William" userId="22952978-5718-404d-bb8f-e86d461ff03c" providerId="ADAL" clId="{94A75A36-47B3-48E7-A95B-46F2FD266C0A}" dt="2023-11-23T11:12:51.328" v="7451" actId="20577"/>
          <ac:spMkLst>
            <pc:docMk/>
            <pc:sldMk cId="174021980" sldId="262"/>
            <ac:spMk id="6" creationId="{EE2BC894-A717-75DF-9D78-F443C76393CF}"/>
          </ac:spMkLst>
        </pc:spChg>
      </pc:sldChg>
      <pc:sldChg chg="modSp new mod">
        <pc:chgData name="WALKER, William" userId="22952978-5718-404d-bb8f-e86d461ff03c" providerId="ADAL" clId="{94A75A36-47B3-48E7-A95B-46F2FD266C0A}" dt="2023-11-23T11:26:20.265" v="8015" actId="5793"/>
        <pc:sldMkLst>
          <pc:docMk/>
          <pc:sldMk cId="3655859876" sldId="263"/>
        </pc:sldMkLst>
        <pc:spChg chg="mod">
          <ac:chgData name="WALKER, William" userId="22952978-5718-404d-bb8f-e86d461ff03c" providerId="ADAL" clId="{94A75A36-47B3-48E7-A95B-46F2FD266C0A}" dt="2023-11-23T11:26:20.265" v="8015" actId="5793"/>
          <ac:spMkLst>
            <pc:docMk/>
            <pc:sldMk cId="3655859876" sldId="263"/>
            <ac:spMk id="2" creationId="{716939B3-CD80-D565-8543-63612EC433D7}"/>
          </ac:spMkLst>
        </pc:spChg>
        <pc:spChg chg="mod">
          <ac:chgData name="WALKER, William" userId="22952978-5718-404d-bb8f-e86d461ff03c" providerId="ADAL" clId="{94A75A36-47B3-48E7-A95B-46F2FD266C0A}" dt="2023-11-23T11:20:40.158" v="7896" actId="14100"/>
          <ac:spMkLst>
            <pc:docMk/>
            <pc:sldMk cId="3655859876" sldId="263"/>
            <ac:spMk id="3" creationId="{076B8408-0788-27D2-74B6-468E184E7F4A}"/>
          </ac:spMkLst>
        </pc:spChg>
      </pc:sldChg>
      <pc:sldChg chg="addSp delSp modSp new mod ord">
        <pc:chgData name="WALKER, William" userId="22952978-5718-404d-bb8f-e86d461ff03c" providerId="ADAL" clId="{94A75A36-47B3-48E7-A95B-46F2FD266C0A}" dt="2023-12-05T12:06:49.956" v="14848" actId="20577"/>
        <pc:sldMkLst>
          <pc:docMk/>
          <pc:sldMk cId="3461500178" sldId="264"/>
        </pc:sldMkLst>
        <pc:spChg chg="mod">
          <ac:chgData name="WALKER, William" userId="22952978-5718-404d-bb8f-e86d461ff03c" providerId="ADAL" clId="{94A75A36-47B3-48E7-A95B-46F2FD266C0A}" dt="2023-12-04T13:35:20.879" v="10562" actId="20577"/>
          <ac:spMkLst>
            <pc:docMk/>
            <pc:sldMk cId="3461500178" sldId="264"/>
            <ac:spMk id="2" creationId="{37F86334-27CD-A611-2520-B282D38E8794}"/>
          </ac:spMkLst>
        </pc:spChg>
        <pc:spChg chg="del">
          <ac:chgData name="WALKER, William" userId="22952978-5718-404d-bb8f-e86d461ff03c" providerId="ADAL" clId="{94A75A36-47B3-48E7-A95B-46F2FD266C0A}" dt="2023-11-23T11:27:54.482" v="8034" actId="478"/>
          <ac:spMkLst>
            <pc:docMk/>
            <pc:sldMk cId="3461500178" sldId="264"/>
            <ac:spMk id="3" creationId="{5C6140A8-A71B-F322-4BAD-F3E700618F1D}"/>
          </ac:spMkLst>
        </pc:spChg>
        <pc:spChg chg="add mod">
          <ac:chgData name="WALKER, William" userId="22952978-5718-404d-bb8f-e86d461ff03c" providerId="ADAL" clId="{94A75A36-47B3-48E7-A95B-46F2FD266C0A}" dt="2023-11-23T16:45:04.737" v="9888" actId="20577"/>
          <ac:spMkLst>
            <pc:docMk/>
            <pc:sldMk cId="3461500178" sldId="264"/>
            <ac:spMk id="4" creationId="{DD07694D-3AA9-0369-179C-9B2CBA8C8EA8}"/>
          </ac:spMkLst>
        </pc:spChg>
        <pc:spChg chg="add mod">
          <ac:chgData name="WALKER, William" userId="22952978-5718-404d-bb8f-e86d461ff03c" providerId="ADAL" clId="{94A75A36-47B3-48E7-A95B-46F2FD266C0A}" dt="2023-12-05T12:06:49.956" v="14848" actId="20577"/>
          <ac:spMkLst>
            <pc:docMk/>
            <pc:sldMk cId="3461500178" sldId="264"/>
            <ac:spMk id="5" creationId="{58658E9D-E3E6-04A7-27A2-0F73A84A61C9}"/>
          </ac:spMkLst>
        </pc:spChg>
        <pc:spChg chg="add mod">
          <ac:chgData name="WALKER, William" userId="22952978-5718-404d-bb8f-e86d461ff03c" providerId="ADAL" clId="{94A75A36-47B3-48E7-A95B-46F2FD266C0A}" dt="2023-12-05T12:06:39.232" v="14836" actId="20577"/>
          <ac:spMkLst>
            <pc:docMk/>
            <pc:sldMk cId="3461500178" sldId="264"/>
            <ac:spMk id="6" creationId="{7BFB0702-E188-8667-1B00-8F51ECBA80FA}"/>
          </ac:spMkLst>
        </pc:spChg>
        <pc:spChg chg="add mod">
          <ac:chgData name="WALKER, William" userId="22952978-5718-404d-bb8f-e86d461ff03c" providerId="ADAL" clId="{94A75A36-47B3-48E7-A95B-46F2FD266C0A}" dt="2023-12-05T12:06:41.079" v="14838" actId="20577"/>
          <ac:spMkLst>
            <pc:docMk/>
            <pc:sldMk cId="3461500178" sldId="264"/>
            <ac:spMk id="7" creationId="{B8EA2F0F-B9FE-CF12-B898-2C0B25C9D637}"/>
          </ac:spMkLst>
        </pc:spChg>
        <pc:spChg chg="add mod">
          <ac:chgData name="WALKER, William" userId="22952978-5718-404d-bb8f-e86d461ff03c" providerId="ADAL" clId="{94A75A36-47B3-48E7-A95B-46F2FD266C0A}" dt="2023-12-05T12:06:42.835" v="14840" actId="20577"/>
          <ac:spMkLst>
            <pc:docMk/>
            <pc:sldMk cId="3461500178" sldId="264"/>
            <ac:spMk id="8" creationId="{058C7115-3E70-FE62-CEAA-966BC79947F3}"/>
          </ac:spMkLst>
        </pc:spChg>
      </pc:sldChg>
      <pc:sldChg chg="addSp delSp modSp new mod addCm delCm">
        <pc:chgData name="WALKER, William" userId="22952978-5718-404d-bb8f-e86d461ff03c" providerId="ADAL" clId="{94A75A36-47B3-48E7-A95B-46F2FD266C0A}" dt="2023-12-19T13:25:38.610" v="18699"/>
        <pc:sldMkLst>
          <pc:docMk/>
          <pc:sldMk cId="3808773627" sldId="265"/>
        </pc:sldMkLst>
        <pc:spChg chg="mod">
          <ac:chgData name="WALKER, William" userId="22952978-5718-404d-bb8f-e86d461ff03c" providerId="ADAL" clId="{94A75A36-47B3-48E7-A95B-46F2FD266C0A}" dt="2023-11-23T12:20:54.567" v="9126" actId="1076"/>
          <ac:spMkLst>
            <pc:docMk/>
            <pc:sldMk cId="3808773627" sldId="265"/>
            <ac:spMk id="2" creationId="{096ACC5B-9976-46A8-9B3E-C382EFCB3929}"/>
          </ac:spMkLst>
        </pc:spChg>
        <pc:spChg chg="del">
          <ac:chgData name="WALKER, William" userId="22952978-5718-404d-bb8f-e86d461ff03c" providerId="ADAL" clId="{94A75A36-47B3-48E7-A95B-46F2FD266C0A}" dt="2023-11-23T12:03:20.552" v="8267" actId="478"/>
          <ac:spMkLst>
            <pc:docMk/>
            <pc:sldMk cId="3808773627" sldId="265"/>
            <ac:spMk id="3" creationId="{587FF943-AD09-1EDB-EDAB-75EF72150995}"/>
          </ac:spMkLst>
        </pc:spChg>
        <pc:spChg chg="add mod">
          <ac:chgData name="WALKER, William" userId="22952978-5718-404d-bb8f-e86d461ff03c" providerId="ADAL" clId="{94A75A36-47B3-48E7-A95B-46F2FD266C0A}" dt="2023-11-23T12:20:15.363" v="9107" actId="404"/>
          <ac:spMkLst>
            <pc:docMk/>
            <pc:sldMk cId="3808773627" sldId="265"/>
            <ac:spMk id="4" creationId="{C1A42D6C-969E-6A43-C7C1-26D31D5734C1}"/>
          </ac:spMkLst>
        </pc:spChg>
        <pc:spChg chg="add mod">
          <ac:chgData name="WALKER, William" userId="22952978-5718-404d-bb8f-e86d461ff03c" providerId="ADAL" clId="{94A75A36-47B3-48E7-A95B-46F2FD266C0A}" dt="2023-11-23T12:05:14.629" v="8476" actId="1076"/>
          <ac:spMkLst>
            <pc:docMk/>
            <pc:sldMk cId="3808773627" sldId="265"/>
            <ac:spMk id="5" creationId="{F07AE724-1EAF-A55F-FEF8-97891EC0AC1F}"/>
          </ac:spMkLst>
        </pc:spChg>
        <pc:spChg chg="add mod">
          <ac:chgData name="WALKER, William" userId="22952978-5718-404d-bb8f-e86d461ff03c" providerId="ADAL" clId="{94A75A36-47B3-48E7-A95B-46F2FD266C0A}" dt="2023-11-23T12:21:14.649" v="9155" actId="20577"/>
          <ac:spMkLst>
            <pc:docMk/>
            <pc:sldMk cId="3808773627" sldId="265"/>
            <ac:spMk id="6" creationId="{57466BC8-2F7A-9617-5641-AB94A8184686}"/>
          </ac:spMkLst>
        </pc:spChg>
        <pc:extLst>
          <p:ext xmlns:p="http://schemas.openxmlformats.org/presentationml/2006/main" uri="{D6D511B9-2390-475A-947B-AFAB55BFBCF1}">
            <pc226:cmChg xmlns:pc226="http://schemas.microsoft.com/office/powerpoint/2022/06/main/command" chg="add del">
              <pc226:chgData name="WALKER, William" userId="22952978-5718-404d-bb8f-e86d461ff03c" providerId="ADAL" clId="{94A75A36-47B3-48E7-A95B-46F2FD266C0A}" dt="2023-12-19T13:25:38.610" v="18699"/>
              <pc2:cmMkLst xmlns:pc2="http://schemas.microsoft.com/office/powerpoint/2019/9/main/command">
                <pc:docMk/>
                <pc:sldMk cId="3808773627" sldId="265"/>
                <pc2:cmMk id="{7CC217C7-2B2D-4981-9C7B-27B0D25BD8E5}"/>
              </pc2:cmMkLst>
            </pc226:cmChg>
          </p:ext>
        </pc:extLst>
      </pc:sldChg>
      <pc:sldChg chg="addSp delSp modSp new del mod ord">
        <pc:chgData name="WALKER, William" userId="22952978-5718-404d-bb8f-e86d461ff03c" providerId="ADAL" clId="{94A75A36-47B3-48E7-A95B-46F2FD266C0A}" dt="2023-12-05T11:38:10.064" v="14275" actId="47"/>
        <pc:sldMkLst>
          <pc:docMk/>
          <pc:sldMk cId="1458247217" sldId="266"/>
        </pc:sldMkLst>
        <pc:spChg chg="mod">
          <ac:chgData name="WALKER, William" userId="22952978-5718-404d-bb8f-e86d461ff03c" providerId="ADAL" clId="{94A75A36-47B3-48E7-A95B-46F2FD266C0A}" dt="2023-12-04T13:34:24.465" v="10547" actId="14100"/>
          <ac:spMkLst>
            <pc:docMk/>
            <pc:sldMk cId="1458247217" sldId="266"/>
            <ac:spMk id="2" creationId="{CDDC5ED7-9702-FCFA-D0DC-355DA1D2ECAA}"/>
          </ac:spMkLst>
        </pc:spChg>
        <pc:spChg chg="del">
          <ac:chgData name="WALKER, William" userId="22952978-5718-404d-bb8f-e86d461ff03c" providerId="ADAL" clId="{94A75A36-47B3-48E7-A95B-46F2FD266C0A}" dt="2023-12-04T13:11:28.209" v="9928" actId="478"/>
          <ac:spMkLst>
            <pc:docMk/>
            <pc:sldMk cId="1458247217" sldId="266"/>
            <ac:spMk id="3" creationId="{F7D3EF14-FC83-B622-FFEC-6AA55ED9E342}"/>
          </ac:spMkLst>
        </pc:spChg>
        <pc:spChg chg="add del mod">
          <ac:chgData name="WALKER, William" userId="22952978-5718-404d-bb8f-e86d461ff03c" providerId="ADAL" clId="{94A75A36-47B3-48E7-A95B-46F2FD266C0A}" dt="2023-12-04T13:16:42.752" v="10041"/>
          <ac:spMkLst>
            <pc:docMk/>
            <pc:sldMk cId="1458247217" sldId="266"/>
            <ac:spMk id="8" creationId="{3DBB2075-E25F-CED5-68EF-70AE667FEE9A}"/>
          </ac:spMkLst>
        </pc:spChg>
        <pc:spChg chg="add mod">
          <ac:chgData name="WALKER, William" userId="22952978-5718-404d-bb8f-e86d461ff03c" providerId="ADAL" clId="{94A75A36-47B3-48E7-A95B-46F2FD266C0A}" dt="2023-12-04T13:54:32.980" v="11870" actId="1076"/>
          <ac:spMkLst>
            <pc:docMk/>
            <pc:sldMk cId="1458247217" sldId="266"/>
            <ac:spMk id="20" creationId="{3F7D5CC7-8A4C-3F7A-E4FF-F70B586AE39A}"/>
          </ac:spMkLst>
        </pc:spChg>
        <pc:graphicFrameChg chg="add del mod">
          <ac:chgData name="WALKER, William" userId="22952978-5718-404d-bb8f-e86d461ff03c" providerId="ADAL" clId="{94A75A36-47B3-48E7-A95B-46F2FD266C0A}" dt="2023-12-04T13:13:21.398" v="9931" actId="478"/>
          <ac:graphicFrameMkLst>
            <pc:docMk/>
            <pc:sldMk cId="1458247217" sldId="266"/>
            <ac:graphicFrameMk id="4" creationId="{F04F9C9C-368B-601F-FBE7-24B74605D88D}"/>
          </ac:graphicFrameMkLst>
        </pc:graphicFrameChg>
        <pc:graphicFrameChg chg="add del mod modGraphic">
          <ac:chgData name="WALKER, William" userId="22952978-5718-404d-bb8f-e86d461ff03c" providerId="ADAL" clId="{94A75A36-47B3-48E7-A95B-46F2FD266C0A}" dt="2023-12-04T13:14:54.265" v="9940" actId="478"/>
          <ac:graphicFrameMkLst>
            <pc:docMk/>
            <pc:sldMk cId="1458247217" sldId="266"/>
            <ac:graphicFrameMk id="5" creationId="{D6F20E3E-2076-AAC4-FA83-EDCAD9F78417}"/>
          </ac:graphicFrameMkLst>
        </pc:graphicFrameChg>
        <pc:graphicFrameChg chg="add del mod">
          <ac:chgData name="WALKER, William" userId="22952978-5718-404d-bb8f-e86d461ff03c" providerId="ADAL" clId="{94A75A36-47B3-48E7-A95B-46F2FD266C0A}" dt="2023-12-04T13:16:42.752" v="10039" actId="478"/>
          <ac:graphicFrameMkLst>
            <pc:docMk/>
            <pc:sldMk cId="1458247217" sldId="266"/>
            <ac:graphicFrameMk id="6" creationId="{57194180-F454-9453-7F8F-9850349580B7}"/>
          </ac:graphicFrameMkLst>
        </pc:graphicFrameChg>
        <pc:graphicFrameChg chg="add del mod">
          <ac:chgData name="WALKER, William" userId="22952978-5718-404d-bb8f-e86d461ff03c" providerId="ADAL" clId="{94A75A36-47B3-48E7-A95B-46F2FD266C0A}" dt="2023-12-04T13:16:43.684" v="10042" actId="478"/>
          <ac:graphicFrameMkLst>
            <pc:docMk/>
            <pc:sldMk cId="1458247217" sldId="266"/>
            <ac:graphicFrameMk id="7" creationId="{0BF1218F-FDB9-4208-956E-E9D1A2EF94E2}"/>
          </ac:graphicFrameMkLst>
        </pc:graphicFrameChg>
        <pc:picChg chg="add del">
          <ac:chgData name="WALKER, William" userId="22952978-5718-404d-bb8f-e86d461ff03c" providerId="ADAL" clId="{94A75A36-47B3-48E7-A95B-46F2FD266C0A}" dt="2023-12-04T13:29:08.647" v="10340" actId="478"/>
          <ac:picMkLst>
            <pc:docMk/>
            <pc:sldMk cId="1458247217" sldId="266"/>
            <ac:picMk id="10" creationId="{3756F7DE-B3A4-E501-D7FB-CCC7A2010261}"/>
          </ac:picMkLst>
        </pc:picChg>
        <pc:picChg chg="add del mod">
          <ac:chgData name="WALKER, William" userId="22952978-5718-404d-bb8f-e86d461ff03c" providerId="ADAL" clId="{94A75A36-47B3-48E7-A95B-46F2FD266C0A}" dt="2023-12-04T13:29:22.966" v="10343" actId="478"/>
          <ac:picMkLst>
            <pc:docMk/>
            <pc:sldMk cId="1458247217" sldId="266"/>
            <ac:picMk id="12" creationId="{27095AB6-ED95-88B4-678E-51E87A6207EB}"/>
          </ac:picMkLst>
        </pc:picChg>
        <pc:picChg chg="add del mod">
          <ac:chgData name="WALKER, William" userId="22952978-5718-404d-bb8f-e86d461ff03c" providerId="ADAL" clId="{94A75A36-47B3-48E7-A95B-46F2FD266C0A}" dt="2023-12-04T13:59:35.984" v="11879" actId="478"/>
          <ac:picMkLst>
            <pc:docMk/>
            <pc:sldMk cId="1458247217" sldId="266"/>
            <ac:picMk id="14" creationId="{916F34E3-5C19-6D10-4B1B-F75C145B2A03}"/>
          </ac:picMkLst>
        </pc:picChg>
        <pc:picChg chg="add del mod">
          <ac:chgData name="WALKER, William" userId="22952978-5718-404d-bb8f-e86d461ff03c" providerId="ADAL" clId="{94A75A36-47B3-48E7-A95B-46F2FD266C0A}" dt="2023-12-04T13:59:42.782" v="11884" actId="478"/>
          <ac:picMkLst>
            <pc:docMk/>
            <pc:sldMk cId="1458247217" sldId="266"/>
            <ac:picMk id="16" creationId="{D4497109-2F94-9DAE-7897-09B63432E93E}"/>
          </ac:picMkLst>
        </pc:picChg>
        <pc:picChg chg="add mod">
          <ac:chgData name="WALKER, William" userId="22952978-5718-404d-bb8f-e86d461ff03c" providerId="ADAL" clId="{94A75A36-47B3-48E7-A95B-46F2FD266C0A}" dt="2023-12-04T14:30:09.973" v="12301" actId="1076"/>
          <ac:picMkLst>
            <pc:docMk/>
            <pc:sldMk cId="1458247217" sldId="266"/>
            <ac:picMk id="18" creationId="{E246D02D-94AA-160E-8ACA-FE715E85C686}"/>
          </ac:picMkLst>
        </pc:picChg>
        <pc:picChg chg="add mod">
          <ac:chgData name="WALKER, William" userId="22952978-5718-404d-bb8f-e86d461ff03c" providerId="ADAL" clId="{94A75A36-47B3-48E7-A95B-46F2FD266C0A}" dt="2023-12-04T13:59:40.858" v="11883" actId="1076"/>
          <ac:picMkLst>
            <pc:docMk/>
            <pc:sldMk cId="1458247217" sldId="266"/>
            <ac:picMk id="22" creationId="{83952AED-49A5-C11F-226C-9B4D18691FBC}"/>
          </ac:picMkLst>
        </pc:picChg>
        <pc:picChg chg="add mod">
          <ac:chgData name="WALKER, William" userId="22952978-5718-404d-bb8f-e86d461ff03c" providerId="ADAL" clId="{94A75A36-47B3-48E7-A95B-46F2FD266C0A}" dt="2023-12-04T14:35:23.485" v="12316" actId="1076"/>
          <ac:picMkLst>
            <pc:docMk/>
            <pc:sldMk cId="1458247217" sldId="266"/>
            <ac:picMk id="24" creationId="{F1CF308D-18B3-3042-660D-42326450ADBA}"/>
          </ac:picMkLst>
        </pc:picChg>
      </pc:sldChg>
      <pc:sldChg chg="addSp delSp modSp new mod ord">
        <pc:chgData name="WALKER, William" userId="22952978-5718-404d-bb8f-e86d461ff03c" providerId="ADAL" clId="{94A75A36-47B3-48E7-A95B-46F2FD266C0A}" dt="2023-12-19T12:05:52.548" v="18651" actId="20577"/>
        <pc:sldMkLst>
          <pc:docMk/>
          <pc:sldMk cId="4212422726" sldId="267"/>
        </pc:sldMkLst>
        <pc:spChg chg="mod">
          <ac:chgData name="WALKER, William" userId="22952978-5718-404d-bb8f-e86d461ff03c" providerId="ADAL" clId="{94A75A36-47B3-48E7-A95B-46F2FD266C0A}" dt="2023-12-19T11:49:58.753" v="18359" actId="20577"/>
          <ac:spMkLst>
            <pc:docMk/>
            <pc:sldMk cId="4212422726" sldId="267"/>
            <ac:spMk id="2" creationId="{C06D44BD-DEE9-37C6-3990-09DEBE1DF62A}"/>
          </ac:spMkLst>
        </pc:spChg>
        <pc:spChg chg="del mod">
          <ac:chgData name="WALKER, William" userId="22952978-5718-404d-bb8f-e86d461ff03c" providerId="ADAL" clId="{94A75A36-47B3-48E7-A95B-46F2FD266C0A}" dt="2023-12-04T13:27:03.592" v="10338" actId="478"/>
          <ac:spMkLst>
            <pc:docMk/>
            <pc:sldMk cId="4212422726" sldId="267"/>
            <ac:spMk id="3" creationId="{C8D7A1FF-3247-8B40-E007-59CEC3F60099}"/>
          </ac:spMkLst>
        </pc:spChg>
        <pc:spChg chg="add mod">
          <ac:chgData name="WALKER, William" userId="22952978-5718-404d-bb8f-e86d461ff03c" providerId="ADAL" clId="{94A75A36-47B3-48E7-A95B-46F2FD266C0A}" dt="2023-12-19T12:05:52.548" v="18651" actId="20577"/>
          <ac:spMkLst>
            <pc:docMk/>
            <pc:sldMk cId="4212422726" sldId="267"/>
            <ac:spMk id="5" creationId="{432B92C9-FEC5-9973-A981-8B9789C2E86F}"/>
          </ac:spMkLst>
        </pc:spChg>
        <pc:spChg chg="add mod">
          <ac:chgData name="WALKER, William" userId="22952978-5718-404d-bb8f-e86d461ff03c" providerId="ADAL" clId="{94A75A36-47B3-48E7-A95B-46F2FD266C0A}" dt="2023-12-05T12:34:28.972" v="15652" actId="1076"/>
          <ac:spMkLst>
            <pc:docMk/>
            <pc:sldMk cId="4212422726" sldId="267"/>
            <ac:spMk id="19" creationId="{C00EA9BD-7761-76AC-32D6-AAD05FF273D0}"/>
          </ac:spMkLst>
        </pc:spChg>
        <pc:picChg chg="add del mod">
          <ac:chgData name="WALKER, William" userId="22952978-5718-404d-bb8f-e86d461ff03c" providerId="ADAL" clId="{94A75A36-47B3-48E7-A95B-46F2FD266C0A}" dt="2023-12-04T14:01:19.916" v="11888" actId="478"/>
          <ac:picMkLst>
            <pc:docMk/>
            <pc:sldMk cId="4212422726" sldId="267"/>
            <ac:picMk id="7" creationId="{90F20E7F-9AC8-0766-9015-44D0D2358A91}"/>
          </ac:picMkLst>
        </pc:picChg>
        <pc:picChg chg="add del mod">
          <ac:chgData name="WALKER, William" userId="22952978-5718-404d-bb8f-e86d461ff03c" providerId="ADAL" clId="{94A75A36-47B3-48E7-A95B-46F2FD266C0A}" dt="2023-12-05T11:54:43.177" v="14387" actId="478"/>
          <ac:picMkLst>
            <pc:docMk/>
            <pc:sldMk cId="4212422726" sldId="267"/>
            <ac:picMk id="9" creationId="{7B2D79C9-DC9E-3412-7042-F59D0262282A}"/>
          </ac:picMkLst>
        </pc:picChg>
        <pc:picChg chg="add del">
          <ac:chgData name="WALKER, William" userId="22952978-5718-404d-bb8f-e86d461ff03c" providerId="ADAL" clId="{94A75A36-47B3-48E7-A95B-46F2FD266C0A}" dt="2023-12-05T11:54:44.122" v="14389" actId="22"/>
          <ac:picMkLst>
            <pc:docMk/>
            <pc:sldMk cId="4212422726" sldId="267"/>
            <ac:picMk id="11" creationId="{97256A30-0CCE-EEF5-09BE-39741D17345E}"/>
          </ac:picMkLst>
        </pc:picChg>
        <pc:picChg chg="add del">
          <ac:chgData name="WALKER, William" userId="22952978-5718-404d-bb8f-e86d461ff03c" providerId="ADAL" clId="{94A75A36-47B3-48E7-A95B-46F2FD266C0A}" dt="2023-12-05T11:54:46.474" v="14391" actId="22"/>
          <ac:picMkLst>
            <pc:docMk/>
            <pc:sldMk cId="4212422726" sldId="267"/>
            <ac:picMk id="13" creationId="{B84B57D7-3AB1-155F-82DC-258D0CA5FC19}"/>
          </ac:picMkLst>
        </pc:picChg>
        <pc:picChg chg="add del mod">
          <ac:chgData name="WALKER, William" userId="22952978-5718-404d-bb8f-e86d461ff03c" providerId="ADAL" clId="{94A75A36-47B3-48E7-A95B-46F2FD266C0A}" dt="2023-12-05T11:55:53.717" v="14409" actId="22"/>
          <ac:picMkLst>
            <pc:docMk/>
            <pc:sldMk cId="4212422726" sldId="267"/>
            <ac:picMk id="15" creationId="{F9218D95-5FD3-4507-18C8-B7206CB8BE6E}"/>
          </ac:picMkLst>
        </pc:picChg>
        <pc:picChg chg="add del mod">
          <ac:chgData name="WALKER, William" userId="22952978-5718-404d-bb8f-e86d461ff03c" providerId="ADAL" clId="{94A75A36-47B3-48E7-A95B-46F2FD266C0A}" dt="2023-12-06T15:15:23.487" v="15734" actId="478"/>
          <ac:picMkLst>
            <pc:docMk/>
            <pc:sldMk cId="4212422726" sldId="267"/>
            <ac:picMk id="17" creationId="{955D5094-DF33-C200-C889-C3452289551D}"/>
          </ac:picMkLst>
        </pc:picChg>
      </pc:sldChg>
      <pc:sldChg chg="addSp delSp modSp new del mod ord">
        <pc:chgData name="WALKER, William" userId="22952978-5718-404d-bb8f-e86d461ff03c" providerId="ADAL" clId="{94A75A36-47B3-48E7-A95B-46F2FD266C0A}" dt="2023-12-05T12:07:04.661" v="14849" actId="47"/>
        <pc:sldMkLst>
          <pc:docMk/>
          <pc:sldMk cId="1384859616" sldId="268"/>
        </pc:sldMkLst>
        <pc:spChg chg="mod">
          <ac:chgData name="WALKER, William" userId="22952978-5718-404d-bb8f-e86d461ff03c" providerId="ADAL" clId="{94A75A36-47B3-48E7-A95B-46F2FD266C0A}" dt="2023-12-04T13:34:35.384" v="10557" actId="20577"/>
          <ac:spMkLst>
            <pc:docMk/>
            <pc:sldMk cId="1384859616" sldId="268"/>
            <ac:spMk id="2" creationId="{804A6F7E-167C-F783-8A9F-F09A8DA27E3E}"/>
          </ac:spMkLst>
        </pc:spChg>
        <pc:spChg chg="mod">
          <ac:chgData name="WALKER, William" userId="22952978-5718-404d-bb8f-e86d461ff03c" providerId="ADAL" clId="{94A75A36-47B3-48E7-A95B-46F2FD266C0A}" dt="2023-12-04T14:38:31.360" v="12318" actId="20577"/>
          <ac:spMkLst>
            <pc:docMk/>
            <pc:sldMk cId="1384859616" sldId="268"/>
            <ac:spMk id="3" creationId="{34280B49-35B2-DE67-8B19-1398A3B8A044}"/>
          </ac:spMkLst>
        </pc:spChg>
        <pc:spChg chg="add mod">
          <ac:chgData name="WALKER, William" userId="22952978-5718-404d-bb8f-e86d461ff03c" providerId="ADAL" clId="{94A75A36-47B3-48E7-A95B-46F2FD266C0A}" dt="2023-12-04T13:26:35.144" v="10337" actId="113"/>
          <ac:spMkLst>
            <pc:docMk/>
            <pc:sldMk cId="1384859616" sldId="268"/>
            <ac:spMk id="12" creationId="{DB8373A3-2B42-8C8D-2B63-25CF39248FCA}"/>
          </ac:spMkLst>
        </pc:spChg>
        <pc:spChg chg="add mod">
          <ac:chgData name="WALKER, William" userId="22952978-5718-404d-bb8f-e86d461ff03c" providerId="ADAL" clId="{94A75A36-47B3-48E7-A95B-46F2FD266C0A}" dt="2023-12-04T13:26:32.795" v="10336" actId="20577"/>
          <ac:spMkLst>
            <pc:docMk/>
            <pc:sldMk cId="1384859616" sldId="268"/>
            <ac:spMk id="13" creationId="{17F431C1-0735-1BF3-2BE3-0FB0CAF38243}"/>
          </ac:spMkLst>
        </pc:spChg>
        <pc:picChg chg="add mod">
          <ac:chgData name="WALKER, William" userId="22952978-5718-404d-bb8f-e86d461ff03c" providerId="ADAL" clId="{94A75A36-47B3-48E7-A95B-46F2FD266C0A}" dt="2023-12-04T14:39:23.688" v="12319" actId="1076"/>
          <ac:picMkLst>
            <pc:docMk/>
            <pc:sldMk cId="1384859616" sldId="268"/>
            <ac:picMk id="5" creationId="{91555235-D5F7-ED62-434D-A333FB395242}"/>
          </ac:picMkLst>
        </pc:picChg>
        <pc:picChg chg="add del">
          <ac:chgData name="WALKER, William" userId="22952978-5718-404d-bb8f-e86d461ff03c" providerId="ADAL" clId="{94A75A36-47B3-48E7-A95B-46F2FD266C0A}" dt="2023-12-04T13:23:11.101" v="10237" actId="478"/>
          <ac:picMkLst>
            <pc:docMk/>
            <pc:sldMk cId="1384859616" sldId="268"/>
            <ac:picMk id="7" creationId="{81EBF7F0-7C7A-D160-1D1F-CD29BDE995C8}"/>
          </ac:picMkLst>
        </pc:picChg>
        <pc:picChg chg="add del mod">
          <ac:chgData name="WALKER, William" userId="22952978-5718-404d-bb8f-e86d461ff03c" providerId="ADAL" clId="{94A75A36-47B3-48E7-A95B-46F2FD266C0A}" dt="2023-12-04T13:24:37.570" v="10241" actId="478"/>
          <ac:picMkLst>
            <pc:docMk/>
            <pc:sldMk cId="1384859616" sldId="268"/>
            <ac:picMk id="9" creationId="{A6E3B4C1-0691-47A0-16A8-ED4B8717043D}"/>
          </ac:picMkLst>
        </pc:picChg>
        <pc:picChg chg="add mod">
          <ac:chgData name="WALKER, William" userId="22952978-5718-404d-bb8f-e86d461ff03c" providerId="ADAL" clId="{94A75A36-47B3-48E7-A95B-46F2FD266C0A}" dt="2023-12-04T13:26:15.450" v="10319" actId="1076"/>
          <ac:picMkLst>
            <pc:docMk/>
            <pc:sldMk cId="1384859616" sldId="268"/>
            <ac:picMk id="11" creationId="{F0D20F39-0DAF-5541-B57A-2CE482463BFD}"/>
          </ac:picMkLst>
        </pc:picChg>
      </pc:sldChg>
      <pc:sldChg chg="modSp new del mod ord">
        <pc:chgData name="WALKER, William" userId="22952978-5718-404d-bb8f-e86d461ff03c" providerId="ADAL" clId="{94A75A36-47B3-48E7-A95B-46F2FD266C0A}" dt="2023-12-19T12:03:06.329" v="18609" actId="47"/>
        <pc:sldMkLst>
          <pc:docMk/>
          <pc:sldMk cId="3580538901" sldId="269"/>
        </pc:sldMkLst>
        <pc:spChg chg="mod">
          <ac:chgData name="WALKER, William" userId="22952978-5718-404d-bb8f-e86d461ff03c" providerId="ADAL" clId="{94A75A36-47B3-48E7-A95B-46F2FD266C0A}" dt="2023-12-05T12:21:58.109" v="15459" actId="20577"/>
          <ac:spMkLst>
            <pc:docMk/>
            <pc:sldMk cId="3580538901" sldId="269"/>
            <ac:spMk id="2" creationId="{1E9EF8FF-1654-17B4-5E2F-EF129C788E1B}"/>
          </ac:spMkLst>
        </pc:spChg>
        <pc:spChg chg="mod">
          <ac:chgData name="WALKER, William" userId="22952978-5718-404d-bb8f-e86d461ff03c" providerId="ADAL" clId="{94A75A36-47B3-48E7-A95B-46F2FD266C0A}" dt="2023-12-05T12:34:57.766" v="15683" actId="20577"/>
          <ac:spMkLst>
            <pc:docMk/>
            <pc:sldMk cId="3580538901" sldId="269"/>
            <ac:spMk id="3" creationId="{99C42644-9102-8F0E-DC48-873D4F6CD4D3}"/>
          </ac:spMkLst>
        </pc:spChg>
      </pc:sldChg>
      <pc:sldChg chg="addSp delSp modSp new del mod">
        <pc:chgData name="WALKER, William" userId="22952978-5718-404d-bb8f-e86d461ff03c" providerId="ADAL" clId="{94A75A36-47B3-48E7-A95B-46F2FD266C0A}" dt="2023-12-05T11:38:12.337" v="14276" actId="47"/>
        <pc:sldMkLst>
          <pc:docMk/>
          <pc:sldMk cId="3367573989" sldId="270"/>
        </pc:sldMkLst>
        <pc:spChg chg="mod">
          <ac:chgData name="WALKER, William" userId="22952978-5718-404d-bb8f-e86d461ff03c" providerId="ADAL" clId="{94A75A36-47B3-48E7-A95B-46F2FD266C0A}" dt="2023-12-04T14:27:33.789" v="12007" actId="20577"/>
          <ac:spMkLst>
            <pc:docMk/>
            <pc:sldMk cId="3367573989" sldId="270"/>
            <ac:spMk id="2" creationId="{C510C8A2-41E1-4C1A-503F-19132D6E94EA}"/>
          </ac:spMkLst>
        </pc:spChg>
        <pc:spChg chg="del">
          <ac:chgData name="WALKER, William" userId="22952978-5718-404d-bb8f-e86d461ff03c" providerId="ADAL" clId="{94A75A36-47B3-48E7-A95B-46F2FD266C0A}" dt="2023-12-04T14:25:57.480" v="11987" actId="478"/>
          <ac:spMkLst>
            <pc:docMk/>
            <pc:sldMk cId="3367573989" sldId="270"/>
            <ac:spMk id="3" creationId="{E1F2E004-B654-353F-8DFB-09F353501B4A}"/>
          </ac:spMkLst>
        </pc:spChg>
        <pc:picChg chg="add mod">
          <ac:chgData name="WALKER, William" userId="22952978-5718-404d-bb8f-e86d461ff03c" providerId="ADAL" clId="{94A75A36-47B3-48E7-A95B-46F2FD266C0A}" dt="2023-12-04T14:27:26.036" v="11994" actId="1076"/>
          <ac:picMkLst>
            <pc:docMk/>
            <pc:sldMk cId="3367573989" sldId="270"/>
            <ac:picMk id="5" creationId="{71A146E7-CF27-3205-07FF-9A9D5530762C}"/>
          </ac:picMkLst>
        </pc:picChg>
        <pc:picChg chg="add mod">
          <ac:chgData name="WALKER, William" userId="22952978-5718-404d-bb8f-e86d461ff03c" providerId="ADAL" clId="{94A75A36-47B3-48E7-A95B-46F2FD266C0A}" dt="2023-12-04T14:27:22.988" v="11993" actId="1076"/>
          <ac:picMkLst>
            <pc:docMk/>
            <pc:sldMk cId="3367573989" sldId="270"/>
            <ac:picMk id="7" creationId="{0BDE4769-92E1-87E0-CEBC-3F30894AE6A3}"/>
          </ac:picMkLst>
        </pc:picChg>
      </pc:sldChg>
      <pc:sldChg chg="addSp delSp modSp new mod ord">
        <pc:chgData name="WALKER, William" userId="22952978-5718-404d-bb8f-e86d461ff03c" providerId="ADAL" clId="{94A75A36-47B3-48E7-A95B-46F2FD266C0A}" dt="2023-12-19T13:26:54.067" v="18711"/>
        <pc:sldMkLst>
          <pc:docMk/>
          <pc:sldMk cId="203515268" sldId="271"/>
        </pc:sldMkLst>
        <pc:spChg chg="mod">
          <ac:chgData name="WALKER, William" userId="22952978-5718-404d-bb8f-e86d461ff03c" providerId="ADAL" clId="{94A75A36-47B3-48E7-A95B-46F2FD266C0A}" dt="2023-12-05T12:45:34.514" v="15733" actId="1076"/>
          <ac:spMkLst>
            <pc:docMk/>
            <pc:sldMk cId="203515268" sldId="271"/>
            <ac:spMk id="2" creationId="{A5813538-3DE9-9DBA-0820-B1250943A3D1}"/>
          </ac:spMkLst>
        </pc:spChg>
        <pc:spChg chg="del mod">
          <ac:chgData name="WALKER, William" userId="22952978-5718-404d-bb8f-e86d461ff03c" providerId="ADAL" clId="{94A75A36-47B3-48E7-A95B-46F2FD266C0A}" dt="2023-12-05T10:43:41.670" v="13147" actId="478"/>
          <ac:spMkLst>
            <pc:docMk/>
            <pc:sldMk cId="203515268" sldId="271"/>
            <ac:spMk id="3" creationId="{80A3356F-40D7-E0CD-3A4C-39D94DA80E7E}"/>
          </ac:spMkLst>
        </pc:spChg>
        <pc:spChg chg="add del mod">
          <ac:chgData name="WALKER, William" userId="22952978-5718-404d-bb8f-e86d461ff03c" providerId="ADAL" clId="{94A75A36-47B3-48E7-A95B-46F2FD266C0A}" dt="2023-12-05T10:43:44.386" v="13148" actId="478"/>
          <ac:spMkLst>
            <pc:docMk/>
            <pc:sldMk cId="203515268" sldId="271"/>
            <ac:spMk id="6" creationId="{0A2D7317-DF2B-3A24-4B85-3F1F552BB76F}"/>
          </ac:spMkLst>
        </pc:spChg>
        <pc:graphicFrameChg chg="add mod modGraphic">
          <ac:chgData name="WALKER, William" userId="22952978-5718-404d-bb8f-e86d461ff03c" providerId="ADAL" clId="{94A75A36-47B3-48E7-A95B-46F2FD266C0A}" dt="2023-12-19T12:02:49.509" v="18608" actId="113"/>
          <ac:graphicFrameMkLst>
            <pc:docMk/>
            <pc:sldMk cId="203515268" sldId="271"/>
            <ac:graphicFrameMk id="4" creationId="{9D1A4884-BA41-EEF3-6226-62ADFFB11D14}"/>
          </ac:graphicFrameMkLst>
        </pc:graphicFrameChg>
      </pc:sldChg>
      <pc:sldChg chg="addSp modSp new mod ord">
        <pc:chgData name="WALKER, William" userId="22952978-5718-404d-bb8f-e86d461ff03c" providerId="ADAL" clId="{94A75A36-47B3-48E7-A95B-46F2FD266C0A}" dt="2024-01-10T12:19:49.212" v="20207" actId="20577"/>
        <pc:sldMkLst>
          <pc:docMk/>
          <pc:sldMk cId="2335270854" sldId="272"/>
        </pc:sldMkLst>
        <pc:spChg chg="mod">
          <ac:chgData name="WALKER, William" userId="22952978-5718-404d-bb8f-e86d461ff03c" providerId="ADAL" clId="{94A75A36-47B3-48E7-A95B-46F2FD266C0A}" dt="2023-12-05T12:37:46.124" v="15730" actId="14100"/>
          <ac:spMkLst>
            <pc:docMk/>
            <pc:sldMk cId="2335270854" sldId="272"/>
            <ac:spMk id="2" creationId="{8D31D274-4BCB-653B-E44E-8940FA23F489}"/>
          </ac:spMkLst>
        </pc:spChg>
        <pc:spChg chg="mod">
          <ac:chgData name="WALKER, William" userId="22952978-5718-404d-bb8f-e86d461ff03c" providerId="ADAL" clId="{94A75A36-47B3-48E7-A95B-46F2FD266C0A}" dt="2024-01-10T12:19:49.212" v="20207" actId="20577"/>
          <ac:spMkLst>
            <pc:docMk/>
            <pc:sldMk cId="2335270854" sldId="272"/>
            <ac:spMk id="3" creationId="{DC1385E9-95EF-98FC-9297-8465AD42E864}"/>
          </ac:spMkLst>
        </pc:spChg>
        <pc:picChg chg="add mod">
          <ac:chgData name="WALKER, William" userId="22952978-5718-404d-bb8f-e86d461ff03c" providerId="ADAL" clId="{94A75A36-47B3-48E7-A95B-46F2FD266C0A}" dt="2023-12-05T12:37:49.293" v="15732" actId="1076"/>
          <ac:picMkLst>
            <pc:docMk/>
            <pc:sldMk cId="2335270854" sldId="272"/>
            <ac:picMk id="5" creationId="{1CEA949C-11BE-79C0-CBEC-F20842B443A0}"/>
          </ac:picMkLst>
        </pc:picChg>
      </pc:sldChg>
      <pc:sldChg chg="addSp delSp modSp new mod">
        <pc:chgData name="WALKER, William" userId="22952978-5718-404d-bb8f-e86d461ff03c" providerId="ADAL" clId="{94A75A36-47B3-48E7-A95B-46F2FD266C0A}" dt="2023-12-19T13:26:11.607" v="18709" actId="20577"/>
        <pc:sldMkLst>
          <pc:docMk/>
          <pc:sldMk cId="3230754003" sldId="273"/>
        </pc:sldMkLst>
        <pc:spChg chg="mod">
          <ac:chgData name="WALKER, William" userId="22952978-5718-404d-bb8f-e86d461ff03c" providerId="ADAL" clId="{94A75A36-47B3-48E7-A95B-46F2FD266C0A}" dt="2023-12-19T13:26:11.607" v="18709" actId="20577"/>
          <ac:spMkLst>
            <pc:docMk/>
            <pc:sldMk cId="3230754003" sldId="273"/>
            <ac:spMk id="2" creationId="{9368E277-CCC1-CF8D-8F6D-4B2BDF4F3EA6}"/>
          </ac:spMkLst>
        </pc:spChg>
        <pc:spChg chg="del">
          <ac:chgData name="WALKER, William" userId="22952978-5718-404d-bb8f-e86d461ff03c" providerId="ADAL" clId="{94A75A36-47B3-48E7-A95B-46F2FD266C0A}" dt="2023-12-05T11:26:45.108" v="14236" actId="478"/>
          <ac:spMkLst>
            <pc:docMk/>
            <pc:sldMk cId="3230754003" sldId="273"/>
            <ac:spMk id="3" creationId="{08C782AF-6583-8E32-C7A0-B4779F2C899A}"/>
          </ac:spMkLst>
        </pc:spChg>
        <pc:spChg chg="add del">
          <ac:chgData name="WALKER, William" userId="22952978-5718-404d-bb8f-e86d461ff03c" providerId="ADAL" clId="{94A75A36-47B3-48E7-A95B-46F2FD266C0A}" dt="2023-12-05T11:26:46.497" v="14238"/>
          <ac:spMkLst>
            <pc:docMk/>
            <pc:sldMk cId="3230754003" sldId="273"/>
            <ac:spMk id="4" creationId="{68663D69-57A7-25DA-F629-361D760A2C23}"/>
          </ac:spMkLst>
        </pc:spChg>
        <pc:spChg chg="add del">
          <ac:chgData name="WALKER, William" userId="22952978-5718-404d-bb8f-e86d461ff03c" providerId="ADAL" clId="{94A75A36-47B3-48E7-A95B-46F2FD266C0A}" dt="2023-12-05T11:27:04.440" v="14243"/>
          <ac:spMkLst>
            <pc:docMk/>
            <pc:sldMk cId="3230754003" sldId="273"/>
            <ac:spMk id="6" creationId="{E8A91CE8-D537-4B19-987B-1C8127D01C46}"/>
          </ac:spMkLst>
        </pc:spChg>
        <pc:spChg chg="add del">
          <ac:chgData name="WALKER, William" userId="22952978-5718-404d-bb8f-e86d461ff03c" providerId="ADAL" clId="{94A75A36-47B3-48E7-A95B-46F2FD266C0A}" dt="2023-12-05T11:37:15.013" v="14258"/>
          <ac:spMkLst>
            <pc:docMk/>
            <pc:sldMk cId="3230754003" sldId="273"/>
            <ac:spMk id="9" creationId="{2E2A5F3B-0BF5-6AFF-8A2D-C58B566FD701}"/>
          </ac:spMkLst>
        </pc:spChg>
        <pc:spChg chg="add del">
          <ac:chgData name="WALKER, William" userId="22952978-5718-404d-bb8f-e86d461ff03c" providerId="ADAL" clId="{94A75A36-47B3-48E7-A95B-46F2FD266C0A}" dt="2023-12-05T11:37:31.205" v="14266"/>
          <ac:spMkLst>
            <pc:docMk/>
            <pc:sldMk cId="3230754003" sldId="273"/>
            <ac:spMk id="11" creationId="{F16FE318-A9EB-BA53-1CC7-BB70FE84C287}"/>
          </ac:spMkLst>
        </pc:spChg>
        <pc:picChg chg="add del mod">
          <ac:chgData name="WALKER, William" userId="22952978-5718-404d-bb8f-e86d461ff03c" providerId="ADAL" clId="{94A75A36-47B3-48E7-A95B-46F2FD266C0A}" dt="2023-12-05T11:27:01.672" v="14241" actId="478"/>
          <ac:picMkLst>
            <pc:docMk/>
            <pc:sldMk cId="3230754003" sldId="273"/>
            <ac:picMk id="5" creationId="{E694A479-F4F0-705E-956F-6A87BE485CD8}"/>
          </ac:picMkLst>
        </pc:picChg>
        <pc:picChg chg="add mod">
          <ac:chgData name="WALKER, William" userId="22952978-5718-404d-bb8f-e86d461ff03c" providerId="ADAL" clId="{94A75A36-47B3-48E7-A95B-46F2FD266C0A}" dt="2023-12-05T11:37:36.750" v="14270" actId="1076"/>
          <ac:picMkLst>
            <pc:docMk/>
            <pc:sldMk cId="3230754003" sldId="273"/>
            <ac:picMk id="7" creationId="{E8F2804A-A0AE-FE6B-7606-84F99717F857}"/>
          </ac:picMkLst>
        </pc:picChg>
        <pc:picChg chg="add del mod">
          <ac:chgData name="WALKER, William" userId="22952978-5718-404d-bb8f-e86d461ff03c" providerId="ADAL" clId="{94A75A36-47B3-48E7-A95B-46F2FD266C0A}" dt="2023-12-05T11:36:42.286" v="14256" actId="478"/>
          <ac:picMkLst>
            <pc:docMk/>
            <pc:sldMk cId="3230754003" sldId="273"/>
            <ac:picMk id="8" creationId="{CD42DA8A-2EFD-75EF-F0D4-B5B4C6E84329}"/>
          </ac:picMkLst>
        </pc:picChg>
        <pc:picChg chg="add del mod">
          <ac:chgData name="WALKER, William" userId="22952978-5718-404d-bb8f-e86d461ff03c" providerId="ADAL" clId="{94A75A36-47B3-48E7-A95B-46F2FD266C0A}" dt="2023-12-05T11:37:21.379" v="14264" actId="478"/>
          <ac:picMkLst>
            <pc:docMk/>
            <pc:sldMk cId="3230754003" sldId="273"/>
            <ac:picMk id="10" creationId="{E8CBE318-8D00-328D-E8F7-ABA3D39F098F}"/>
          </ac:picMkLst>
        </pc:picChg>
        <pc:picChg chg="add mod">
          <ac:chgData name="WALKER, William" userId="22952978-5718-404d-bb8f-e86d461ff03c" providerId="ADAL" clId="{94A75A36-47B3-48E7-A95B-46F2FD266C0A}" dt="2023-12-05T11:37:35.340" v="14269" actId="1076"/>
          <ac:picMkLst>
            <pc:docMk/>
            <pc:sldMk cId="3230754003" sldId="273"/>
            <ac:picMk id="12" creationId="{71F01F39-C1FE-4DBF-87CE-6F76AB020A5F}"/>
          </ac:picMkLst>
        </pc:picChg>
      </pc:sldChg>
      <pc:sldChg chg="addSp delSp modSp new mod">
        <pc:chgData name="WALKER, William" userId="22952978-5718-404d-bb8f-e86d461ff03c" providerId="ADAL" clId="{94A75A36-47B3-48E7-A95B-46F2FD266C0A}" dt="2023-12-05T12:35:05.526" v="15686" actId="14100"/>
        <pc:sldMkLst>
          <pc:docMk/>
          <pc:sldMk cId="202325663" sldId="274"/>
        </pc:sldMkLst>
        <pc:spChg chg="mod">
          <ac:chgData name="WALKER, William" userId="22952978-5718-404d-bb8f-e86d461ff03c" providerId="ADAL" clId="{94A75A36-47B3-48E7-A95B-46F2FD266C0A}" dt="2023-12-05T12:20:58.520" v="15342" actId="1076"/>
          <ac:spMkLst>
            <pc:docMk/>
            <pc:sldMk cId="202325663" sldId="274"/>
            <ac:spMk id="2" creationId="{F6C0C40E-FDAB-7335-D6B9-36B5280E6C36}"/>
          </ac:spMkLst>
        </pc:spChg>
        <pc:spChg chg="del">
          <ac:chgData name="WALKER, William" userId="22952978-5718-404d-bb8f-e86d461ff03c" providerId="ADAL" clId="{94A75A36-47B3-48E7-A95B-46F2FD266C0A}" dt="2023-12-05T11:45:09.252" v="14363" actId="478"/>
          <ac:spMkLst>
            <pc:docMk/>
            <pc:sldMk cId="202325663" sldId="274"/>
            <ac:spMk id="3" creationId="{B6008E91-73CF-875E-9E3D-C4D5CA0C808B}"/>
          </ac:spMkLst>
        </pc:spChg>
        <pc:spChg chg="add del">
          <ac:chgData name="WALKER, William" userId="22952978-5718-404d-bb8f-e86d461ff03c" providerId="ADAL" clId="{94A75A36-47B3-48E7-A95B-46F2FD266C0A}" dt="2023-12-05T11:45:10.934" v="14365"/>
          <ac:spMkLst>
            <pc:docMk/>
            <pc:sldMk cId="202325663" sldId="274"/>
            <ac:spMk id="4" creationId="{4486C029-FA3C-FD03-D058-B2E40A160F2D}"/>
          </ac:spMkLst>
        </pc:spChg>
        <pc:spChg chg="add del">
          <ac:chgData name="WALKER, William" userId="22952978-5718-404d-bb8f-e86d461ff03c" providerId="ADAL" clId="{94A75A36-47B3-48E7-A95B-46F2FD266C0A}" dt="2023-12-05T11:50:40.578" v="14376"/>
          <ac:spMkLst>
            <pc:docMk/>
            <pc:sldMk cId="202325663" sldId="274"/>
            <ac:spMk id="6" creationId="{40FB1075-8E05-2705-6713-4AF87A75CAFE}"/>
          </ac:spMkLst>
        </pc:spChg>
        <pc:spChg chg="add del">
          <ac:chgData name="WALKER, William" userId="22952978-5718-404d-bb8f-e86d461ff03c" providerId="ADAL" clId="{94A75A36-47B3-48E7-A95B-46F2FD266C0A}" dt="2023-12-05T11:50:51.739" v="14383"/>
          <ac:spMkLst>
            <pc:docMk/>
            <pc:sldMk cId="202325663" sldId="274"/>
            <ac:spMk id="8" creationId="{7524AFF7-B886-7E1A-19A7-50A330CF582F}"/>
          </ac:spMkLst>
        </pc:spChg>
        <pc:spChg chg="add del">
          <ac:chgData name="WALKER, William" userId="22952978-5718-404d-bb8f-e86d461ff03c" providerId="ADAL" clId="{94A75A36-47B3-48E7-A95B-46F2FD266C0A}" dt="2023-12-05T12:20:55.837" v="15340"/>
          <ac:spMkLst>
            <pc:docMk/>
            <pc:sldMk cId="202325663" sldId="274"/>
            <ac:spMk id="10" creationId="{6F59E6E6-19D6-0D68-DB76-45416F85B5A1}"/>
          </ac:spMkLst>
        </pc:spChg>
        <pc:picChg chg="add del mod">
          <ac:chgData name="WALKER, William" userId="22952978-5718-404d-bb8f-e86d461ff03c" providerId="ADAL" clId="{94A75A36-47B3-48E7-A95B-46F2FD266C0A}" dt="2023-12-05T12:20:54.926" v="15338" actId="478"/>
          <ac:picMkLst>
            <pc:docMk/>
            <pc:sldMk cId="202325663" sldId="274"/>
            <ac:picMk id="5" creationId="{0D24FD28-39AF-E361-2D02-8674CF707A0A}"/>
          </ac:picMkLst>
        </pc:picChg>
        <pc:picChg chg="add del mod">
          <ac:chgData name="WALKER, William" userId="22952978-5718-404d-bb8f-e86d461ff03c" providerId="ADAL" clId="{94A75A36-47B3-48E7-A95B-46F2FD266C0A}" dt="2023-12-05T11:50:46.439" v="14381" actId="478"/>
          <ac:picMkLst>
            <pc:docMk/>
            <pc:sldMk cId="202325663" sldId="274"/>
            <ac:picMk id="7" creationId="{60BC80E2-0605-87B8-76BA-8B3DE266002C}"/>
          </ac:picMkLst>
        </pc:picChg>
        <pc:picChg chg="add mod">
          <ac:chgData name="WALKER, William" userId="22952978-5718-404d-bb8f-e86d461ff03c" providerId="ADAL" clId="{94A75A36-47B3-48E7-A95B-46F2FD266C0A}" dt="2023-12-05T12:35:05.526" v="15686" actId="14100"/>
          <ac:picMkLst>
            <pc:docMk/>
            <pc:sldMk cId="202325663" sldId="274"/>
            <ac:picMk id="9" creationId="{2E1A41D5-14C7-E96A-D9B1-51DB07F70708}"/>
          </ac:picMkLst>
        </pc:picChg>
        <pc:picChg chg="add mod">
          <ac:chgData name="WALKER, William" userId="22952978-5718-404d-bb8f-e86d461ff03c" providerId="ADAL" clId="{94A75A36-47B3-48E7-A95B-46F2FD266C0A}" dt="2023-12-05T12:35:03.277" v="15685" actId="14100"/>
          <ac:picMkLst>
            <pc:docMk/>
            <pc:sldMk cId="202325663" sldId="274"/>
            <ac:picMk id="11" creationId="{F69EFAD5-ED24-C7F9-E57B-60282681806A}"/>
          </ac:picMkLst>
        </pc:picChg>
      </pc:sldChg>
      <pc:sldChg chg="new del">
        <pc:chgData name="WALKER, William" userId="22952978-5718-404d-bb8f-e86d461ff03c" providerId="ADAL" clId="{94A75A36-47B3-48E7-A95B-46F2FD266C0A}" dt="2023-12-05T11:38:20.471" v="14281" actId="47"/>
        <pc:sldMkLst>
          <pc:docMk/>
          <pc:sldMk cId="4210083794" sldId="274"/>
        </pc:sldMkLst>
      </pc:sldChg>
      <pc:sldChg chg="addSp delSp modSp new del mod">
        <pc:chgData name="WALKER, William" userId="22952978-5718-404d-bb8f-e86d461ff03c" providerId="ADAL" clId="{94A75A36-47B3-48E7-A95B-46F2FD266C0A}" dt="2023-12-19T10:50:46.708" v="18282" actId="47"/>
        <pc:sldMkLst>
          <pc:docMk/>
          <pc:sldMk cId="3309547441" sldId="275"/>
        </pc:sldMkLst>
        <pc:spChg chg="mod">
          <ac:chgData name="WALKER, William" userId="22952978-5718-404d-bb8f-e86d461ff03c" providerId="ADAL" clId="{94A75A36-47B3-48E7-A95B-46F2FD266C0A}" dt="2023-12-14T09:58:18.288" v="15947" actId="20577"/>
          <ac:spMkLst>
            <pc:docMk/>
            <pc:sldMk cId="3309547441" sldId="275"/>
            <ac:spMk id="2" creationId="{10A5A7A7-B690-1514-C343-53F104858C14}"/>
          </ac:spMkLst>
        </pc:spChg>
        <pc:spChg chg="del">
          <ac:chgData name="WALKER, William" userId="22952978-5718-404d-bb8f-e86d461ff03c" providerId="ADAL" clId="{94A75A36-47B3-48E7-A95B-46F2FD266C0A}" dt="2023-12-14T09:53:10.666" v="15787" actId="478"/>
          <ac:spMkLst>
            <pc:docMk/>
            <pc:sldMk cId="3309547441" sldId="275"/>
            <ac:spMk id="3" creationId="{7FC94F85-8053-A108-5D87-EE862CBE1CB6}"/>
          </ac:spMkLst>
        </pc:spChg>
        <pc:spChg chg="add mod">
          <ac:chgData name="WALKER, William" userId="22952978-5718-404d-bb8f-e86d461ff03c" providerId="ADAL" clId="{94A75A36-47B3-48E7-A95B-46F2FD266C0A}" dt="2023-12-14T10:12:13.765" v="16631" actId="1076"/>
          <ac:spMkLst>
            <pc:docMk/>
            <pc:sldMk cId="3309547441" sldId="275"/>
            <ac:spMk id="4" creationId="{A42E1380-D3EA-B3E5-A60D-909FFFCC52B6}"/>
          </ac:spMkLst>
        </pc:spChg>
        <pc:spChg chg="add del mod">
          <ac:chgData name="WALKER, William" userId="22952978-5718-404d-bb8f-e86d461ff03c" providerId="ADAL" clId="{94A75A36-47B3-48E7-A95B-46F2FD266C0A}" dt="2023-12-14T09:58:29.481" v="15950" actId="478"/>
          <ac:spMkLst>
            <pc:docMk/>
            <pc:sldMk cId="3309547441" sldId="275"/>
            <ac:spMk id="7" creationId="{1F2C0636-A18C-E76A-BCFF-9C08639604CB}"/>
          </ac:spMkLst>
        </pc:spChg>
        <pc:spChg chg="add del mod">
          <ac:chgData name="WALKER, William" userId="22952978-5718-404d-bb8f-e86d461ff03c" providerId="ADAL" clId="{94A75A36-47B3-48E7-A95B-46F2FD266C0A}" dt="2023-12-14T09:58:28.109" v="15949" actId="478"/>
          <ac:spMkLst>
            <pc:docMk/>
            <pc:sldMk cId="3309547441" sldId="275"/>
            <ac:spMk id="8" creationId="{CDAC6420-FA30-DB4A-6FFB-F58575A95E3C}"/>
          </ac:spMkLst>
        </pc:spChg>
        <pc:spChg chg="add del mod">
          <ac:chgData name="WALKER, William" userId="22952978-5718-404d-bb8f-e86d461ff03c" providerId="ADAL" clId="{94A75A36-47B3-48E7-A95B-46F2FD266C0A}" dt="2023-12-14T09:58:30.747" v="15951" actId="478"/>
          <ac:spMkLst>
            <pc:docMk/>
            <pc:sldMk cId="3309547441" sldId="275"/>
            <ac:spMk id="9" creationId="{4F591B30-F9B7-4575-8ED5-DEF5FB7A3B54}"/>
          </ac:spMkLst>
        </pc:spChg>
        <pc:spChg chg="add mod">
          <ac:chgData name="WALKER, William" userId="22952978-5718-404d-bb8f-e86d461ff03c" providerId="ADAL" clId="{94A75A36-47B3-48E7-A95B-46F2FD266C0A}" dt="2023-12-14T10:12:13.765" v="16631" actId="1076"/>
          <ac:spMkLst>
            <pc:docMk/>
            <pc:sldMk cId="3309547441" sldId="275"/>
            <ac:spMk id="10" creationId="{16B63A9C-ADA6-BBD2-139E-5669AB3D47AA}"/>
          </ac:spMkLst>
        </pc:spChg>
        <pc:spChg chg="add mod">
          <ac:chgData name="WALKER, William" userId="22952978-5718-404d-bb8f-e86d461ff03c" providerId="ADAL" clId="{94A75A36-47B3-48E7-A95B-46F2FD266C0A}" dt="2023-12-14T10:12:13.765" v="16631" actId="1076"/>
          <ac:spMkLst>
            <pc:docMk/>
            <pc:sldMk cId="3309547441" sldId="275"/>
            <ac:spMk id="11" creationId="{649AFC6E-87AF-EA7A-DE0B-7A6D2907F91E}"/>
          </ac:spMkLst>
        </pc:spChg>
        <pc:spChg chg="add del mod">
          <ac:chgData name="WALKER, William" userId="22952978-5718-404d-bb8f-e86d461ff03c" providerId="ADAL" clId="{94A75A36-47B3-48E7-A95B-46F2FD266C0A}" dt="2023-12-14T09:58:30.747" v="15951" actId="478"/>
          <ac:spMkLst>
            <pc:docMk/>
            <pc:sldMk cId="3309547441" sldId="275"/>
            <ac:spMk id="12" creationId="{10A9471D-2A0D-8418-A775-E9F94EE373A6}"/>
          </ac:spMkLst>
        </pc:spChg>
        <pc:spChg chg="add mod">
          <ac:chgData name="WALKER, William" userId="22952978-5718-404d-bb8f-e86d461ff03c" providerId="ADAL" clId="{94A75A36-47B3-48E7-A95B-46F2FD266C0A}" dt="2023-12-19T09:44:57.731" v="17250" actId="1076"/>
          <ac:spMkLst>
            <pc:docMk/>
            <pc:sldMk cId="3309547441" sldId="275"/>
            <ac:spMk id="13" creationId="{53E02AEA-9FC4-DD2C-FBB7-C158FBAE69E6}"/>
          </ac:spMkLst>
        </pc:spChg>
        <pc:spChg chg="add mod">
          <ac:chgData name="WALKER, William" userId="22952978-5718-404d-bb8f-e86d461ff03c" providerId="ADAL" clId="{94A75A36-47B3-48E7-A95B-46F2FD266C0A}" dt="2023-12-14T10:12:13.765" v="16631" actId="1076"/>
          <ac:spMkLst>
            <pc:docMk/>
            <pc:sldMk cId="3309547441" sldId="275"/>
            <ac:spMk id="14" creationId="{EBD13CCD-DC6F-E334-95DC-5223A78EBC34}"/>
          </ac:spMkLst>
        </pc:spChg>
        <pc:spChg chg="add mod">
          <ac:chgData name="WALKER, William" userId="22952978-5718-404d-bb8f-e86d461ff03c" providerId="ADAL" clId="{94A75A36-47B3-48E7-A95B-46F2FD266C0A}" dt="2023-12-14T10:12:13.765" v="16631" actId="1076"/>
          <ac:spMkLst>
            <pc:docMk/>
            <pc:sldMk cId="3309547441" sldId="275"/>
            <ac:spMk id="15" creationId="{736238B3-104A-669C-8F4F-479F48E3C54B}"/>
          </ac:spMkLst>
        </pc:spChg>
        <pc:spChg chg="add del mod">
          <ac:chgData name="WALKER, William" userId="22952978-5718-404d-bb8f-e86d461ff03c" providerId="ADAL" clId="{94A75A36-47B3-48E7-A95B-46F2FD266C0A}" dt="2023-12-14T11:18:05.315" v="17153" actId="478"/>
          <ac:spMkLst>
            <pc:docMk/>
            <pc:sldMk cId="3309547441" sldId="275"/>
            <ac:spMk id="33" creationId="{36752B61-E39E-0349-8673-95F3F2A2317D}"/>
          </ac:spMkLst>
        </pc:spChg>
        <pc:spChg chg="add mod">
          <ac:chgData name="WALKER, William" userId="22952978-5718-404d-bb8f-e86d461ff03c" providerId="ADAL" clId="{94A75A36-47B3-48E7-A95B-46F2FD266C0A}" dt="2023-12-19T09:44:04.336" v="17249" actId="1076"/>
          <ac:spMkLst>
            <pc:docMk/>
            <pc:sldMk cId="3309547441" sldId="275"/>
            <ac:spMk id="34" creationId="{4228F0F1-FBA8-47C3-16E5-CF7592DEF0E2}"/>
          </ac:spMkLst>
        </pc:spChg>
        <pc:spChg chg="add mod">
          <ac:chgData name="WALKER, William" userId="22952978-5718-404d-bb8f-e86d461ff03c" providerId="ADAL" clId="{94A75A36-47B3-48E7-A95B-46F2FD266C0A}" dt="2023-12-14T10:02:22.027" v="16138" actId="20577"/>
          <ac:spMkLst>
            <pc:docMk/>
            <pc:sldMk cId="3309547441" sldId="275"/>
            <ac:spMk id="36" creationId="{F9C3C551-0373-5B6E-D803-0E81217DD99F}"/>
          </ac:spMkLst>
        </pc:spChg>
        <pc:spChg chg="add mod">
          <ac:chgData name="WALKER, William" userId="22952978-5718-404d-bb8f-e86d461ff03c" providerId="ADAL" clId="{94A75A36-47B3-48E7-A95B-46F2FD266C0A}" dt="2023-12-19T09:43:12.514" v="17246" actId="1076"/>
          <ac:spMkLst>
            <pc:docMk/>
            <pc:sldMk cId="3309547441" sldId="275"/>
            <ac:spMk id="52" creationId="{FA986BAB-B0C5-3217-D4E6-19EEADB98826}"/>
          </ac:spMkLst>
        </pc:spChg>
        <pc:spChg chg="add mod">
          <ac:chgData name="WALKER, William" userId="22952978-5718-404d-bb8f-e86d461ff03c" providerId="ADAL" clId="{94A75A36-47B3-48E7-A95B-46F2FD266C0A}" dt="2023-12-14T10:12:13.765" v="16631" actId="1076"/>
          <ac:spMkLst>
            <pc:docMk/>
            <pc:sldMk cId="3309547441" sldId="275"/>
            <ac:spMk id="53" creationId="{97E6905C-C777-1E79-B937-D351933ED449}"/>
          </ac:spMkLst>
        </pc:spChg>
        <pc:spChg chg="add mod">
          <ac:chgData name="WALKER, William" userId="22952978-5718-404d-bb8f-e86d461ff03c" providerId="ADAL" clId="{94A75A36-47B3-48E7-A95B-46F2FD266C0A}" dt="2023-12-14T10:12:13.765" v="16631" actId="1076"/>
          <ac:spMkLst>
            <pc:docMk/>
            <pc:sldMk cId="3309547441" sldId="275"/>
            <ac:spMk id="54" creationId="{4FE80C95-1873-3B92-8ED3-C9DF24620D08}"/>
          </ac:spMkLst>
        </pc:spChg>
        <pc:spChg chg="add mod">
          <ac:chgData name="WALKER, William" userId="22952978-5718-404d-bb8f-e86d461ff03c" providerId="ADAL" clId="{94A75A36-47B3-48E7-A95B-46F2FD266C0A}" dt="2023-12-14T10:12:13.765" v="16631" actId="1076"/>
          <ac:spMkLst>
            <pc:docMk/>
            <pc:sldMk cId="3309547441" sldId="275"/>
            <ac:spMk id="55" creationId="{931ADC99-9523-8BB2-F44C-7CD5F455204B}"/>
          </ac:spMkLst>
        </pc:spChg>
        <pc:spChg chg="add del mod">
          <ac:chgData name="WALKER, William" userId="22952978-5718-404d-bb8f-e86d461ff03c" providerId="ADAL" clId="{94A75A36-47B3-48E7-A95B-46F2FD266C0A}" dt="2023-12-14T11:18:01.395" v="17149" actId="478"/>
          <ac:spMkLst>
            <pc:docMk/>
            <pc:sldMk cId="3309547441" sldId="275"/>
            <ac:spMk id="66" creationId="{26CAA574-FDED-06D6-8FCF-33C6FE06CE16}"/>
          </ac:spMkLst>
        </pc:spChg>
        <pc:spChg chg="add mod">
          <ac:chgData name="WALKER, William" userId="22952978-5718-404d-bb8f-e86d461ff03c" providerId="ADAL" clId="{94A75A36-47B3-48E7-A95B-46F2FD266C0A}" dt="2023-12-19T09:43:16.053" v="17248" actId="1076"/>
          <ac:spMkLst>
            <pc:docMk/>
            <pc:sldMk cId="3309547441" sldId="275"/>
            <ac:spMk id="105" creationId="{975718DB-ACB6-3F6E-5CE9-6EC0C6CACADC}"/>
          </ac:spMkLst>
        </pc:spChg>
        <pc:spChg chg="add mod">
          <ac:chgData name="WALKER, William" userId="22952978-5718-404d-bb8f-e86d461ff03c" providerId="ADAL" clId="{94A75A36-47B3-48E7-A95B-46F2FD266C0A}" dt="2023-12-19T09:43:15.107" v="17247" actId="1076"/>
          <ac:spMkLst>
            <pc:docMk/>
            <pc:sldMk cId="3309547441" sldId="275"/>
            <ac:spMk id="106" creationId="{DD174283-A618-564A-9565-D9399B912A02}"/>
          </ac:spMkLst>
        </pc:spChg>
        <pc:spChg chg="add mod">
          <ac:chgData name="WALKER, William" userId="22952978-5718-404d-bb8f-e86d461ff03c" providerId="ADAL" clId="{94A75A36-47B3-48E7-A95B-46F2FD266C0A}" dt="2023-12-14T10:22:37.489" v="16761" actId="1076"/>
          <ac:spMkLst>
            <pc:docMk/>
            <pc:sldMk cId="3309547441" sldId="275"/>
            <ac:spMk id="107" creationId="{FF7FC5F6-71F7-0A0F-4EC0-CD19BCC7A550}"/>
          </ac:spMkLst>
        </pc:spChg>
        <pc:spChg chg="add mod">
          <ac:chgData name="WALKER, William" userId="22952978-5718-404d-bb8f-e86d461ff03c" providerId="ADAL" clId="{94A75A36-47B3-48E7-A95B-46F2FD266C0A}" dt="2023-12-19T09:45:34.899" v="17251" actId="1076"/>
          <ac:spMkLst>
            <pc:docMk/>
            <pc:sldMk cId="3309547441" sldId="275"/>
            <ac:spMk id="108" creationId="{FCB8372A-EDDE-FBDC-9D20-4E4FF00C70BC}"/>
          </ac:spMkLst>
        </pc:spChg>
        <pc:cxnChg chg="add del mod">
          <ac:chgData name="WALKER, William" userId="22952978-5718-404d-bb8f-e86d461ff03c" providerId="ADAL" clId="{94A75A36-47B3-48E7-A95B-46F2FD266C0A}" dt="2023-12-14T09:58:26.321" v="15948" actId="478"/>
          <ac:cxnSpMkLst>
            <pc:docMk/>
            <pc:sldMk cId="3309547441" sldId="275"/>
            <ac:cxnSpMk id="6" creationId="{B3ADBE80-FB63-508C-E21A-0036BDFEFA3C}"/>
          </ac:cxnSpMkLst>
        </pc:cxnChg>
        <pc:cxnChg chg="add del mod">
          <ac:chgData name="WALKER, William" userId="22952978-5718-404d-bb8f-e86d461ff03c" providerId="ADAL" clId="{94A75A36-47B3-48E7-A95B-46F2FD266C0A}" dt="2023-12-14T10:09:36.009" v="16501" actId="478"/>
          <ac:cxnSpMkLst>
            <pc:docMk/>
            <pc:sldMk cId="3309547441" sldId="275"/>
            <ac:cxnSpMk id="17" creationId="{52033730-D23E-C09F-DBDB-73458D6C3D4C}"/>
          </ac:cxnSpMkLst>
        </pc:cxnChg>
        <pc:cxnChg chg="add del mod">
          <ac:chgData name="WALKER, William" userId="22952978-5718-404d-bb8f-e86d461ff03c" providerId="ADAL" clId="{94A75A36-47B3-48E7-A95B-46F2FD266C0A}" dt="2023-12-14T10:09:38.499" v="16504" actId="478"/>
          <ac:cxnSpMkLst>
            <pc:docMk/>
            <pc:sldMk cId="3309547441" sldId="275"/>
            <ac:cxnSpMk id="18" creationId="{6F000000-6951-B970-C861-77571D09BC9C}"/>
          </ac:cxnSpMkLst>
        </pc:cxnChg>
        <pc:cxnChg chg="add mod">
          <ac:chgData name="WALKER, William" userId="22952978-5718-404d-bb8f-e86d461ff03c" providerId="ADAL" clId="{94A75A36-47B3-48E7-A95B-46F2FD266C0A}" dt="2023-12-14T10:12:13.765" v="16631" actId="1076"/>
          <ac:cxnSpMkLst>
            <pc:docMk/>
            <pc:sldMk cId="3309547441" sldId="275"/>
            <ac:cxnSpMk id="21" creationId="{3779110B-EEA2-7E3E-CA54-D7BBD153B176}"/>
          </ac:cxnSpMkLst>
        </pc:cxnChg>
        <pc:cxnChg chg="add mod">
          <ac:chgData name="WALKER, William" userId="22952978-5718-404d-bb8f-e86d461ff03c" providerId="ADAL" clId="{94A75A36-47B3-48E7-A95B-46F2FD266C0A}" dt="2023-12-19T09:44:57.731" v="17250" actId="1076"/>
          <ac:cxnSpMkLst>
            <pc:docMk/>
            <pc:sldMk cId="3309547441" sldId="275"/>
            <ac:cxnSpMk id="24" creationId="{70E0C824-1256-B905-522D-70B95D9A3A2C}"/>
          </ac:cxnSpMkLst>
        </pc:cxnChg>
        <pc:cxnChg chg="add del mod">
          <ac:chgData name="WALKER, William" userId="22952978-5718-404d-bb8f-e86d461ff03c" providerId="ADAL" clId="{94A75A36-47B3-48E7-A95B-46F2FD266C0A}" dt="2023-12-14T10:09:50.657" v="16514" actId="478"/>
          <ac:cxnSpMkLst>
            <pc:docMk/>
            <pc:sldMk cId="3309547441" sldId="275"/>
            <ac:cxnSpMk id="27" creationId="{2F0AF7E9-E078-E876-0FC6-764EF5FCA6B4}"/>
          </ac:cxnSpMkLst>
        </pc:cxnChg>
        <pc:cxnChg chg="add del mod">
          <ac:chgData name="WALKER, William" userId="22952978-5718-404d-bb8f-e86d461ff03c" providerId="ADAL" clId="{94A75A36-47B3-48E7-A95B-46F2FD266C0A}" dt="2023-12-14T10:09:55.677" v="16518" actId="478"/>
          <ac:cxnSpMkLst>
            <pc:docMk/>
            <pc:sldMk cId="3309547441" sldId="275"/>
            <ac:cxnSpMk id="46" creationId="{11E02812-49C5-F2F1-3AF9-F03196C7987D}"/>
          </ac:cxnSpMkLst>
        </pc:cxnChg>
        <pc:cxnChg chg="add del mod">
          <ac:chgData name="WALKER, William" userId="22952978-5718-404d-bb8f-e86d461ff03c" providerId="ADAL" clId="{94A75A36-47B3-48E7-A95B-46F2FD266C0A}" dt="2023-12-14T10:09:58.366" v="16520" actId="478"/>
          <ac:cxnSpMkLst>
            <pc:docMk/>
            <pc:sldMk cId="3309547441" sldId="275"/>
            <ac:cxnSpMk id="49" creationId="{6BA79CA7-D0E4-001A-DAEF-4C2CF3FECFFD}"/>
          </ac:cxnSpMkLst>
        </pc:cxnChg>
        <pc:cxnChg chg="add del mod">
          <ac:chgData name="WALKER, William" userId="22952978-5718-404d-bb8f-e86d461ff03c" providerId="ADAL" clId="{94A75A36-47B3-48E7-A95B-46F2FD266C0A}" dt="2023-12-14T10:10:08.768" v="16526" actId="478"/>
          <ac:cxnSpMkLst>
            <pc:docMk/>
            <pc:sldMk cId="3309547441" sldId="275"/>
            <ac:cxnSpMk id="56" creationId="{FCB0005C-5B72-1E48-566C-BB8169943BB3}"/>
          </ac:cxnSpMkLst>
        </pc:cxnChg>
        <pc:cxnChg chg="add mod">
          <ac:chgData name="WALKER, William" userId="22952978-5718-404d-bb8f-e86d461ff03c" providerId="ADAL" clId="{94A75A36-47B3-48E7-A95B-46F2FD266C0A}" dt="2023-12-19T09:44:57.731" v="17250" actId="1076"/>
          <ac:cxnSpMkLst>
            <pc:docMk/>
            <pc:sldMk cId="3309547441" sldId="275"/>
            <ac:cxnSpMk id="61" creationId="{4FDFADA6-0B89-131E-546F-AFBBAFAEFAC8}"/>
          </ac:cxnSpMkLst>
        </pc:cxnChg>
        <pc:cxnChg chg="add mod">
          <ac:chgData name="WALKER, William" userId="22952978-5718-404d-bb8f-e86d461ff03c" providerId="ADAL" clId="{94A75A36-47B3-48E7-A95B-46F2FD266C0A}" dt="2023-12-14T10:12:13.765" v="16631" actId="1076"/>
          <ac:cxnSpMkLst>
            <pc:docMk/>
            <pc:sldMk cId="3309547441" sldId="275"/>
            <ac:cxnSpMk id="69" creationId="{5CF7A2F1-7641-D7B9-5480-3E897DA87A73}"/>
          </ac:cxnSpMkLst>
        </pc:cxnChg>
        <pc:cxnChg chg="add mod">
          <ac:chgData name="WALKER, William" userId="22952978-5718-404d-bb8f-e86d461ff03c" providerId="ADAL" clId="{94A75A36-47B3-48E7-A95B-46F2FD266C0A}" dt="2023-12-14T10:12:13.765" v="16631" actId="1076"/>
          <ac:cxnSpMkLst>
            <pc:docMk/>
            <pc:sldMk cId="3309547441" sldId="275"/>
            <ac:cxnSpMk id="70" creationId="{9DFF1EF6-6F29-B8A8-44A2-D74C806FC1D1}"/>
          </ac:cxnSpMkLst>
        </pc:cxnChg>
        <pc:cxnChg chg="add del mod">
          <ac:chgData name="WALKER, William" userId="22952978-5718-404d-bb8f-e86d461ff03c" providerId="ADAL" clId="{94A75A36-47B3-48E7-A95B-46F2FD266C0A}" dt="2023-12-14T10:12:13.765" v="16631" actId="1076"/>
          <ac:cxnSpMkLst>
            <pc:docMk/>
            <pc:sldMk cId="3309547441" sldId="275"/>
            <ac:cxnSpMk id="71" creationId="{7160786B-6D7B-C15F-9393-ECF7395C8AAE}"/>
          </ac:cxnSpMkLst>
        </pc:cxnChg>
        <pc:cxnChg chg="add mod">
          <ac:chgData name="WALKER, William" userId="22952978-5718-404d-bb8f-e86d461ff03c" providerId="ADAL" clId="{94A75A36-47B3-48E7-A95B-46F2FD266C0A}" dt="2023-12-19T09:44:57.731" v="17250" actId="1076"/>
          <ac:cxnSpMkLst>
            <pc:docMk/>
            <pc:sldMk cId="3309547441" sldId="275"/>
            <ac:cxnSpMk id="72" creationId="{F77564B6-1E52-32D1-F1B9-FD9EE6506276}"/>
          </ac:cxnSpMkLst>
        </pc:cxnChg>
        <pc:cxnChg chg="add mod">
          <ac:chgData name="WALKER, William" userId="22952978-5718-404d-bb8f-e86d461ff03c" providerId="ADAL" clId="{94A75A36-47B3-48E7-A95B-46F2FD266C0A}" dt="2023-12-14T10:12:13.765" v="16631" actId="1076"/>
          <ac:cxnSpMkLst>
            <pc:docMk/>
            <pc:sldMk cId="3309547441" sldId="275"/>
            <ac:cxnSpMk id="73" creationId="{E0B6D84D-45F0-A3F8-DDC7-869872948E74}"/>
          </ac:cxnSpMkLst>
        </pc:cxnChg>
        <pc:cxnChg chg="add mod">
          <ac:chgData name="WALKER, William" userId="22952978-5718-404d-bb8f-e86d461ff03c" providerId="ADAL" clId="{94A75A36-47B3-48E7-A95B-46F2FD266C0A}" dt="2023-12-14T10:12:13.765" v="16631" actId="1076"/>
          <ac:cxnSpMkLst>
            <pc:docMk/>
            <pc:sldMk cId="3309547441" sldId="275"/>
            <ac:cxnSpMk id="84" creationId="{6AF6FEA9-27FD-FAFF-0445-54B3D37B392D}"/>
          </ac:cxnSpMkLst>
        </pc:cxnChg>
        <pc:cxnChg chg="add mod">
          <ac:chgData name="WALKER, William" userId="22952978-5718-404d-bb8f-e86d461ff03c" providerId="ADAL" clId="{94A75A36-47B3-48E7-A95B-46F2FD266C0A}" dt="2023-12-14T10:12:13.765" v="16631" actId="1076"/>
          <ac:cxnSpMkLst>
            <pc:docMk/>
            <pc:sldMk cId="3309547441" sldId="275"/>
            <ac:cxnSpMk id="87" creationId="{746D204E-0249-F7B3-B51D-1EE732736D59}"/>
          </ac:cxnSpMkLst>
        </pc:cxnChg>
        <pc:cxnChg chg="add del mod">
          <ac:chgData name="WALKER, William" userId="22952978-5718-404d-bb8f-e86d461ff03c" providerId="ADAL" clId="{94A75A36-47B3-48E7-A95B-46F2FD266C0A}" dt="2023-12-14T10:12:10.043" v="16630" actId="478"/>
          <ac:cxnSpMkLst>
            <pc:docMk/>
            <pc:sldMk cId="3309547441" sldId="275"/>
            <ac:cxnSpMk id="90" creationId="{85609A11-A8F1-2CC1-C25A-79ABC9897B76}"/>
          </ac:cxnSpMkLst>
        </pc:cxnChg>
        <pc:cxnChg chg="add del mod">
          <ac:chgData name="WALKER, William" userId="22952978-5718-404d-bb8f-e86d461ff03c" providerId="ADAL" clId="{94A75A36-47B3-48E7-A95B-46F2FD266C0A}" dt="2023-12-14T10:12:09.513" v="16629" actId="478"/>
          <ac:cxnSpMkLst>
            <pc:docMk/>
            <pc:sldMk cId="3309547441" sldId="275"/>
            <ac:cxnSpMk id="93" creationId="{7CF577AE-C28F-052D-961B-06924FBCB90C}"/>
          </ac:cxnSpMkLst>
        </pc:cxnChg>
        <pc:cxnChg chg="add del mod">
          <ac:chgData name="WALKER, William" userId="22952978-5718-404d-bb8f-e86d461ff03c" providerId="ADAL" clId="{94A75A36-47B3-48E7-A95B-46F2FD266C0A}" dt="2023-12-14T10:12:08.920" v="16628" actId="478"/>
          <ac:cxnSpMkLst>
            <pc:docMk/>
            <pc:sldMk cId="3309547441" sldId="275"/>
            <ac:cxnSpMk id="96" creationId="{76CE4318-29D8-E276-848F-A2AF63320D33}"/>
          </ac:cxnSpMkLst>
        </pc:cxnChg>
        <pc:cxnChg chg="add mod">
          <ac:chgData name="WALKER, William" userId="22952978-5718-404d-bb8f-e86d461ff03c" providerId="ADAL" clId="{94A75A36-47B3-48E7-A95B-46F2FD266C0A}" dt="2023-12-19T09:43:16.053" v="17248" actId="1076"/>
          <ac:cxnSpMkLst>
            <pc:docMk/>
            <pc:sldMk cId="3309547441" sldId="275"/>
            <ac:cxnSpMk id="111" creationId="{F9979D07-03EA-5362-6DBC-79A4C46CA653}"/>
          </ac:cxnSpMkLst>
        </pc:cxnChg>
        <pc:cxnChg chg="add mod">
          <ac:chgData name="WALKER, William" userId="22952978-5718-404d-bb8f-e86d461ff03c" providerId="ADAL" clId="{94A75A36-47B3-48E7-A95B-46F2FD266C0A}" dt="2023-12-14T10:23:32.674" v="16772" actId="14100"/>
          <ac:cxnSpMkLst>
            <pc:docMk/>
            <pc:sldMk cId="3309547441" sldId="275"/>
            <ac:cxnSpMk id="114" creationId="{03C73468-4BA9-1894-81FB-5313904543DB}"/>
          </ac:cxnSpMkLst>
        </pc:cxnChg>
        <pc:cxnChg chg="add mod">
          <ac:chgData name="WALKER, William" userId="22952978-5718-404d-bb8f-e86d461ff03c" providerId="ADAL" clId="{94A75A36-47B3-48E7-A95B-46F2FD266C0A}" dt="2023-12-19T09:45:34.899" v="17251" actId="1076"/>
          <ac:cxnSpMkLst>
            <pc:docMk/>
            <pc:sldMk cId="3309547441" sldId="275"/>
            <ac:cxnSpMk id="117" creationId="{BBF7EC47-D4B7-7294-160F-EBD14B871A7E}"/>
          </ac:cxnSpMkLst>
        </pc:cxnChg>
        <pc:cxnChg chg="add del mod">
          <ac:chgData name="WALKER, William" userId="22952978-5718-404d-bb8f-e86d461ff03c" providerId="ADAL" clId="{94A75A36-47B3-48E7-A95B-46F2FD266C0A}" dt="2023-12-14T11:18:03.089" v="17150" actId="478"/>
          <ac:cxnSpMkLst>
            <pc:docMk/>
            <pc:sldMk cId="3309547441" sldId="275"/>
            <ac:cxnSpMk id="120" creationId="{D584C33D-E233-29CA-A637-2C036CD8D2C9}"/>
          </ac:cxnSpMkLst>
        </pc:cxnChg>
        <pc:cxnChg chg="add del mod">
          <ac:chgData name="WALKER, William" userId="22952978-5718-404d-bb8f-e86d461ff03c" providerId="ADAL" clId="{94A75A36-47B3-48E7-A95B-46F2FD266C0A}" dt="2023-12-14T11:18:03.547" v="17151" actId="478"/>
          <ac:cxnSpMkLst>
            <pc:docMk/>
            <pc:sldMk cId="3309547441" sldId="275"/>
            <ac:cxnSpMk id="124" creationId="{B63145A4-32E9-2068-A2D2-4777BE1D4F87}"/>
          </ac:cxnSpMkLst>
        </pc:cxnChg>
        <pc:cxnChg chg="add del mod">
          <ac:chgData name="WALKER, William" userId="22952978-5718-404d-bb8f-e86d461ff03c" providerId="ADAL" clId="{94A75A36-47B3-48E7-A95B-46F2FD266C0A}" dt="2023-12-14T11:18:04.012" v="17152" actId="478"/>
          <ac:cxnSpMkLst>
            <pc:docMk/>
            <pc:sldMk cId="3309547441" sldId="275"/>
            <ac:cxnSpMk id="127" creationId="{4DB37775-E2E4-AC92-31AA-11F8CE95F9BB}"/>
          </ac:cxnSpMkLst>
        </pc:cxnChg>
      </pc:sldChg>
      <pc:sldChg chg="addSp delSp modSp new del mod">
        <pc:chgData name="WALKER, William" userId="22952978-5718-404d-bb8f-e86d461ff03c" providerId="ADAL" clId="{94A75A36-47B3-48E7-A95B-46F2FD266C0A}" dt="2023-12-19T09:45:45.817" v="17252" actId="47"/>
        <pc:sldMkLst>
          <pc:docMk/>
          <pc:sldMk cId="2751200176" sldId="276"/>
        </pc:sldMkLst>
        <pc:spChg chg="mod">
          <ac:chgData name="WALKER, William" userId="22952978-5718-404d-bb8f-e86d461ff03c" providerId="ADAL" clId="{94A75A36-47B3-48E7-A95B-46F2FD266C0A}" dt="2023-12-14T10:46:34.505" v="17008" actId="5793"/>
          <ac:spMkLst>
            <pc:docMk/>
            <pc:sldMk cId="2751200176" sldId="276"/>
            <ac:spMk id="2" creationId="{0ED56E89-D591-8E6E-4E9D-97EA21A8F1B0}"/>
          </ac:spMkLst>
        </pc:spChg>
        <pc:spChg chg="del">
          <ac:chgData name="WALKER, William" userId="22952978-5718-404d-bb8f-e86d461ff03c" providerId="ADAL" clId="{94A75A36-47B3-48E7-A95B-46F2FD266C0A}" dt="2023-12-14T10:46:37.050" v="17009" actId="478"/>
          <ac:spMkLst>
            <pc:docMk/>
            <pc:sldMk cId="2751200176" sldId="276"/>
            <ac:spMk id="3" creationId="{1B0FB133-A528-596D-AF9E-408B2B6A5234}"/>
          </ac:spMkLst>
        </pc:spChg>
        <pc:spChg chg="add mod">
          <ac:chgData name="WALKER, William" userId="22952978-5718-404d-bb8f-e86d461ff03c" providerId="ADAL" clId="{94A75A36-47B3-48E7-A95B-46F2FD266C0A}" dt="2023-12-14T10:59:04.386" v="17131" actId="1076"/>
          <ac:spMkLst>
            <pc:docMk/>
            <pc:sldMk cId="2751200176" sldId="276"/>
            <ac:spMk id="4" creationId="{7802AFD0-D680-D2AA-72F1-95BD3C4BAD0A}"/>
          </ac:spMkLst>
        </pc:spChg>
        <pc:spChg chg="add mod">
          <ac:chgData name="WALKER, William" userId="22952978-5718-404d-bb8f-e86d461ff03c" providerId="ADAL" clId="{94A75A36-47B3-48E7-A95B-46F2FD266C0A}" dt="2023-12-14T10:55:58.830" v="17111" actId="1076"/>
          <ac:spMkLst>
            <pc:docMk/>
            <pc:sldMk cId="2751200176" sldId="276"/>
            <ac:spMk id="5" creationId="{2CF7BA2D-7F46-6F88-7709-525DDE2C1050}"/>
          </ac:spMkLst>
        </pc:spChg>
        <pc:spChg chg="add mod">
          <ac:chgData name="WALKER, William" userId="22952978-5718-404d-bb8f-e86d461ff03c" providerId="ADAL" clId="{94A75A36-47B3-48E7-A95B-46F2FD266C0A}" dt="2023-12-14T10:56:01.375" v="17113" actId="1076"/>
          <ac:spMkLst>
            <pc:docMk/>
            <pc:sldMk cId="2751200176" sldId="276"/>
            <ac:spMk id="6" creationId="{CDCD4862-3D91-8194-90D8-6688D93B10CC}"/>
          </ac:spMkLst>
        </pc:spChg>
        <pc:spChg chg="add mod">
          <ac:chgData name="WALKER, William" userId="22952978-5718-404d-bb8f-e86d461ff03c" providerId="ADAL" clId="{94A75A36-47B3-48E7-A95B-46F2FD266C0A}" dt="2023-12-14T10:55:57.742" v="17110" actId="1076"/>
          <ac:spMkLst>
            <pc:docMk/>
            <pc:sldMk cId="2751200176" sldId="276"/>
            <ac:spMk id="7" creationId="{79AD825D-8130-55D4-978E-96312F2AD074}"/>
          </ac:spMkLst>
        </pc:spChg>
        <pc:spChg chg="add del mod">
          <ac:chgData name="WALKER, William" userId="22952978-5718-404d-bb8f-e86d461ff03c" providerId="ADAL" clId="{94A75A36-47B3-48E7-A95B-46F2FD266C0A}" dt="2023-12-14T10:55:18.470" v="17064" actId="478"/>
          <ac:spMkLst>
            <pc:docMk/>
            <pc:sldMk cId="2751200176" sldId="276"/>
            <ac:spMk id="8" creationId="{2E53BDC5-D5F4-EA8F-C035-51CCC110B232}"/>
          </ac:spMkLst>
        </pc:spChg>
        <pc:spChg chg="add mod">
          <ac:chgData name="WALKER, William" userId="22952978-5718-404d-bb8f-e86d461ff03c" providerId="ADAL" clId="{94A75A36-47B3-48E7-A95B-46F2FD266C0A}" dt="2023-12-14T10:59:38.767" v="17148" actId="1076"/>
          <ac:spMkLst>
            <pc:docMk/>
            <pc:sldMk cId="2751200176" sldId="276"/>
            <ac:spMk id="20" creationId="{6A0891C2-19C4-F9BF-48F9-D6921CE68E16}"/>
          </ac:spMkLst>
        </pc:spChg>
        <pc:spChg chg="add mod">
          <ac:chgData name="WALKER, William" userId="22952978-5718-404d-bb8f-e86d461ff03c" providerId="ADAL" clId="{94A75A36-47B3-48E7-A95B-46F2FD266C0A}" dt="2023-12-14T10:59:15.695" v="17147" actId="14100"/>
          <ac:spMkLst>
            <pc:docMk/>
            <pc:sldMk cId="2751200176" sldId="276"/>
            <ac:spMk id="22" creationId="{38C2DC6E-467D-D872-EE59-70CE5B94F65D}"/>
          </ac:spMkLst>
        </pc:spChg>
        <pc:cxnChg chg="add mod">
          <ac:chgData name="WALKER, William" userId="22952978-5718-404d-bb8f-e86d461ff03c" providerId="ADAL" clId="{94A75A36-47B3-48E7-A95B-46F2FD266C0A}" dt="2023-12-14T10:56:03.966" v="17115" actId="1076"/>
          <ac:cxnSpMkLst>
            <pc:docMk/>
            <pc:sldMk cId="2751200176" sldId="276"/>
            <ac:cxnSpMk id="10" creationId="{5816203B-256C-0954-23B3-BB59096F5899}"/>
          </ac:cxnSpMkLst>
        </pc:cxnChg>
        <pc:cxnChg chg="add mod">
          <ac:chgData name="WALKER, William" userId="22952978-5718-404d-bb8f-e86d461ff03c" providerId="ADAL" clId="{94A75A36-47B3-48E7-A95B-46F2FD266C0A}" dt="2023-12-14T10:59:38.767" v="17148" actId="1076"/>
          <ac:cxnSpMkLst>
            <pc:docMk/>
            <pc:sldMk cId="2751200176" sldId="276"/>
            <ac:cxnSpMk id="17" creationId="{FEEE550F-FDAE-CA5C-2F9B-60D0559419A8}"/>
          </ac:cxnSpMkLst>
        </pc:cxnChg>
      </pc:sldChg>
      <pc:sldChg chg="addSp delSp modSp new del mod">
        <pc:chgData name="WALKER, William" userId="22952978-5718-404d-bb8f-e86d461ff03c" providerId="ADAL" clId="{94A75A36-47B3-48E7-A95B-46F2FD266C0A}" dt="2023-12-19T12:05:10.538" v="18638" actId="47"/>
        <pc:sldMkLst>
          <pc:docMk/>
          <pc:sldMk cId="1375654538" sldId="277"/>
        </pc:sldMkLst>
        <pc:spChg chg="del">
          <ac:chgData name="WALKER, William" userId="22952978-5718-404d-bb8f-e86d461ff03c" providerId="ADAL" clId="{94A75A36-47B3-48E7-A95B-46F2FD266C0A}" dt="2023-12-14T13:26:02.053" v="17158" actId="478"/>
          <ac:spMkLst>
            <pc:docMk/>
            <pc:sldMk cId="1375654538" sldId="277"/>
            <ac:spMk id="2" creationId="{01348869-36B0-460D-7655-DF06C7FD0BAC}"/>
          </ac:spMkLst>
        </pc:spChg>
        <pc:spChg chg="del">
          <ac:chgData name="WALKER, William" userId="22952978-5718-404d-bb8f-e86d461ff03c" providerId="ADAL" clId="{94A75A36-47B3-48E7-A95B-46F2FD266C0A}" dt="2023-12-14T13:25:58.147" v="17155" actId="478"/>
          <ac:spMkLst>
            <pc:docMk/>
            <pc:sldMk cId="1375654538" sldId="277"/>
            <ac:spMk id="3" creationId="{A0262CFD-51B1-2898-3423-ED0BFD63CFB4}"/>
          </ac:spMkLst>
        </pc:spChg>
        <pc:picChg chg="add del">
          <ac:chgData name="WALKER, William" userId="22952978-5718-404d-bb8f-e86d461ff03c" providerId="ADAL" clId="{94A75A36-47B3-48E7-A95B-46F2FD266C0A}" dt="2023-12-14T13:26:00.971" v="17157" actId="478"/>
          <ac:picMkLst>
            <pc:docMk/>
            <pc:sldMk cId="1375654538" sldId="277"/>
            <ac:picMk id="5" creationId="{1D91EA23-50A6-DAC5-391F-6DAE87154F47}"/>
          </ac:picMkLst>
        </pc:picChg>
        <pc:picChg chg="add mod">
          <ac:chgData name="WALKER, William" userId="22952978-5718-404d-bb8f-e86d461ff03c" providerId="ADAL" clId="{94A75A36-47B3-48E7-A95B-46F2FD266C0A}" dt="2023-12-19T09:38:42.418" v="17245" actId="1076"/>
          <ac:picMkLst>
            <pc:docMk/>
            <pc:sldMk cId="1375654538" sldId="277"/>
            <ac:picMk id="7" creationId="{392957F8-8E32-27B7-847D-98D6AE16B202}"/>
          </ac:picMkLst>
        </pc:picChg>
      </pc:sldChg>
      <pc:sldChg chg="addSp delSp modSp new mod ord">
        <pc:chgData name="WALKER, William" userId="22952978-5718-404d-bb8f-e86d461ff03c" providerId="ADAL" clId="{94A75A36-47B3-48E7-A95B-46F2FD266C0A}" dt="2023-12-19T13:23:26.783" v="18653"/>
        <pc:sldMkLst>
          <pc:docMk/>
          <pc:sldMk cId="2129283291" sldId="278"/>
        </pc:sldMkLst>
        <pc:spChg chg="mod">
          <ac:chgData name="WALKER, William" userId="22952978-5718-404d-bb8f-e86d461ff03c" providerId="ADAL" clId="{94A75A36-47B3-48E7-A95B-46F2FD266C0A}" dt="2023-12-18T13:12:47.621" v="17197" actId="20577"/>
          <ac:spMkLst>
            <pc:docMk/>
            <pc:sldMk cId="2129283291" sldId="278"/>
            <ac:spMk id="2" creationId="{4C7A52E2-8E9E-38A9-4C1B-E17B77ECA787}"/>
          </ac:spMkLst>
        </pc:spChg>
        <pc:spChg chg="del">
          <ac:chgData name="WALKER, William" userId="22952978-5718-404d-bb8f-e86d461ff03c" providerId="ADAL" clId="{94A75A36-47B3-48E7-A95B-46F2FD266C0A}" dt="2023-12-18T13:12:34.774" v="17171" actId="478"/>
          <ac:spMkLst>
            <pc:docMk/>
            <pc:sldMk cId="2129283291" sldId="278"/>
            <ac:spMk id="3" creationId="{C7BA62CA-2797-8131-A4D9-A6FB6FC775A2}"/>
          </ac:spMkLst>
        </pc:spChg>
        <pc:picChg chg="add mod">
          <ac:chgData name="WALKER, William" userId="22952978-5718-404d-bb8f-e86d461ff03c" providerId="ADAL" clId="{94A75A36-47B3-48E7-A95B-46F2FD266C0A}" dt="2023-12-19T09:35:10.832" v="17244" actId="1076"/>
          <ac:picMkLst>
            <pc:docMk/>
            <pc:sldMk cId="2129283291" sldId="278"/>
            <ac:picMk id="1026" creationId="{46164269-3ADD-342C-9BDA-A223DF35A85D}"/>
          </ac:picMkLst>
        </pc:picChg>
      </pc:sldChg>
      <pc:sldChg chg="addSp delSp modSp new mod">
        <pc:chgData name="WALKER, William" userId="22952978-5718-404d-bb8f-e86d461ff03c" providerId="ADAL" clId="{94A75A36-47B3-48E7-A95B-46F2FD266C0A}" dt="2023-12-19T13:27:03.187" v="18724" actId="20577"/>
        <pc:sldMkLst>
          <pc:docMk/>
          <pc:sldMk cId="1864037946" sldId="279"/>
        </pc:sldMkLst>
        <pc:spChg chg="mod">
          <ac:chgData name="WALKER, William" userId="22952978-5718-404d-bb8f-e86d461ff03c" providerId="ADAL" clId="{94A75A36-47B3-48E7-A95B-46F2FD266C0A}" dt="2023-12-19T13:27:03.187" v="18724" actId="20577"/>
          <ac:spMkLst>
            <pc:docMk/>
            <pc:sldMk cId="1864037946" sldId="279"/>
            <ac:spMk id="2" creationId="{ED9330F4-538D-DAD8-E571-960A6CB4DDE8}"/>
          </ac:spMkLst>
        </pc:spChg>
        <pc:spChg chg="del">
          <ac:chgData name="WALKER, William" userId="22952978-5718-404d-bb8f-e86d461ff03c" providerId="ADAL" clId="{94A75A36-47B3-48E7-A95B-46F2FD266C0A}" dt="2023-12-19T09:52:37.146" v="17254" actId="3680"/>
          <ac:spMkLst>
            <pc:docMk/>
            <pc:sldMk cId="1864037946" sldId="279"/>
            <ac:spMk id="3" creationId="{4006DD2B-ED67-067F-0AE9-62889A371EAF}"/>
          </ac:spMkLst>
        </pc:spChg>
        <pc:spChg chg="add mod">
          <ac:chgData name="WALKER, William" userId="22952978-5718-404d-bb8f-e86d461ff03c" providerId="ADAL" clId="{94A75A36-47B3-48E7-A95B-46F2FD266C0A}" dt="2023-12-19T12:04:25.672" v="18637" actId="14100"/>
          <ac:spMkLst>
            <pc:docMk/>
            <pc:sldMk cId="1864037946" sldId="279"/>
            <ac:spMk id="5" creationId="{1BF0FD27-4FAD-FBA6-52C3-38762B738057}"/>
          </ac:spMkLst>
        </pc:spChg>
        <pc:graphicFrameChg chg="add mod ord modGraphic">
          <ac:chgData name="WALKER, William" userId="22952978-5718-404d-bb8f-e86d461ff03c" providerId="ADAL" clId="{94A75A36-47B3-48E7-A95B-46F2FD266C0A}" dt="2023-12-19T11:19:42.179" v="18312" actId="14734"/>
          <ac:graphicFrameMkLst>
            <pc:docMk/>
            <pc:sldMk cId="1864037946" sldId="279"/>
            <ac:graphicFrameMk id="4" creationId="{9D2E3530-8CD3-CC9D-99A6-01C3555B9DBD}"/>
          </ac:graphicFrameMkLst>
        </pc:graphicFrameChg>
        <pc:graphicFrameChg chg="add mod modGraphic">
          <ac:chgData name="WALKER, William" userId="22952978-5718-404d-bb8f-e86d461ff03c" providerId="ADAL" clId="{94A75A36-47B3-48E7-A95B-46F2FD266C0A}" dt="2023-12-19T10:50:19.377" v="18276" actId="1076"/>
          <ac:graphicFrameMkLst>
            <pc:docMk/>
            <pc:sldMk cId="1864037946" sldId="279"/>
            <ac:graphicFrameMk id="6" creationId="{F65A4B61-4043-CC35-02F5-0C377744F30F}"/>
          </ac:graphicFrameMkLst>
        </pc:graphicFrameChg>
      </pc:sldChg>
      <pc:sldChg chg="addSp delSp modSp new mod">
        <pc:chgData name="WALKER, William" userId="22952978-5718-404d-bb8f-e86d461ff03c" providerId="ADAL" clId="{94A75A36-47B3-48E7-A95B-46F2FD266C0A}" dt="2023-12-19T13:23:55.687" v="18693" actId="1076"/>
        <pc:sldMkLst>
          <pc:docMk/>
          <pc:sldMk cId="489789500" sldId="280"/>
        </pc:sldMkLst>
        <pc:spChg chg="del">
          <ac:chgData name="WALKER, William" userId="22952978-5718-404d-bb8f-e86d461ff03c" providerId="ADAL" clId="{94A75A36-47B3-48E7-A95B-46F2FD266C0A}" dt="2023-12-19T10:56:54.321" v="18285" actId="478"/>
          <ac:spMkLst>
            <pc:docMk/>
            <pc:sldMk cId="489789500" sldId="280"/>
            <ac:spMk id="2" creationId="{8FEC95B7-C3A1-960A-E7C2-D24100401921}"/>
          </ac:spMkLst>
        </pc:spChg>
        <pc:spChg chg="del">
          <ac:chgData name="WALKER, William" userId="22952978-5718-404d-bb8f-e86d461ff03c" providerId="ADAL" clId="{94A75A36-47B3-48E7-A95B-46F2FD266C0A}" dt="2023-12-19T10:56:53.287" v="18284" actId="478"/>
          <ac:spMkLst>
            <pc:docMk/>
            <pc:sldMk cId="489789500" sldId="280"/>
            <ac:spMk id="3" creationId="{A728B484-5F70-0B79-F21E-89E53E2275AE}"/>
          </ac:spMkLst>
        </pc:spChg>
        <pc:spChg chg="add del">
          <ac:chgData name="WALKER, William" userId="22952978-5718-404d-bb8f-e86d461ff03c" providerId="ADAL" clId="{94A75A36-47B3-48E7-A95B-46F2FD266C0A}" dt="2023-12-19T10:57:58.569" v="18287"/>
          <ac:spMkLst>
            <pc:docMk/>
            <pc:sldMk cId="489789500" sldId="280"/>
            <ac:spMk id="4" creationId="{83F76AA8-76EB-883D-2BDA-31382C0A8C99}"/>
          </ac:spMkLst>
        </pc:spChg>
        <pc:spChg chg="add del">
          <ac:chgData name="WALKER, William" userId="22952978-5718-404d-bb8f-e86d461ff03c" providerId="ADAL" clId="{94A75A36-47B3-48E7-A95B-46F2FD266C0A}" dt="2023-12-19T11:11:34.895" v="18292"/>
          <ac:spMkLst>
            <pc:docMk/>
            <pc:sldMk cId="489789500" sldId="280"/>
            <ac:spMk id="6" creationId="{5AE38ED4-76B7-A848-51FD-BABA36FCA0F5}"/>
          </ac:spMkLst>
        </pc:spChg>
        <pc:spChg chg="add mod">
          <ac:chgData name="WALKER, William" userId="22952978-5718-404d-bb8f-e86d461ff03c" providerId="ADAL" clId="{94A75A36-47B3-48E7-A95B-46F2FD266C0A}" dt="2023-12-19T13:23:55.687" v="18693" actId="1076"/>
          <ac:spMkLst>
            <pc:docMk/>
            <pc:sldMk cId="489789500" sldId="280"/>
            <ac:spMk id="8" creationId="{577884E7-CBE7-C82D-905A-BBF8574A25EC}"/>
          </ac:spMkLst>
        </pc:spChg>
        <pc:picChg chg="add mod">
          <ac:chgData name="WALKER, William" userId="22952978-5718-404d-bb8f-e86d461ff03c" providerId="ADAL" clId="{94A75A36-47B3-48E7-A95B-46F2FD266C0A}" dt="2023-12-19T11:21:04.999" v="18317" actId="1076"/>
          <ac:picMkLst>
            <pc:docMk/>
            <pc:sldMk cId="489789500" sldId="280"/>
            <ac:picMk id="5" creationId="{9CD9A0EF-E950-9EDC-0C2C-8F57B5B27C39}"/>
          </ac:picMkLst>
        </pc:picChg>
        <pc:picChg chg="add mod">
          <ac:chgData name="WALKER, William" userId="22952978-5718-404d-bb8f-e86d461ff03c" providerId="ADAL" clId="{94A75A36-47B3-48E7-A95B-46F2FD266C0A}" dt="2023-12-19T13:23:32.159" v="18654" actId="1076"/>
          <ac:picMkLst>
            <pc:docMk/>
            <pc:sldMk cId="489789500" sldId="280"/>
            <ac:picMk id="7" creationId="{CA8BBC5C-FDFF-A87E-363D-F4E1CCB9E923}"/>
          </ac:picMkLst>
        </pc:picChg>
      </pc:sldChg>
      <pc:sldChg chg="addSp delSp modSp new mod">
        <pc:chgData name="WALKER, William" userId="22952978-5718-404d-bb8f-e86d461ff03c" providerId="ADAL" clId="{94A75A36-47B3-48E7-A95B-46F2FD266C0A}" dt="2023-12-19T13:30:24.284" v="18970" actId="33524"/>
        <pc:sldMkLst>
          <pc:docMk/>
          <pc:sldMk cId="3792250785" sldId="281"/>
        </pc:sldMkLst>
        <pc:spChg chg="mod">
          <ac:chgData name="WALKER, William" userId="22952978-5718-404d-bb8f-e86d461ff03c" providerId="ADAL" clId="{94A75A36-47B3-48E7-A95B-46F2FD266C0A}" dt="2023-12-19T13:29:41.746" v="18880" actId="1076"/>
          <ac:spMkLst>
            <pc:docMk/>
            <pc:sldMk cId="3792250785" sldId="281"/>
            <ac:spMk id="2" creationId="{4FEC3DDD-48B1-63AB-8528-8612BF450CDF}"/>
          </ac:spMkLst>
        </pc:spChg>
        <pc:spChg chg="del">
          <ac:chgData name="WALKER, William" userId="22952978-5718-404d-bb8f-e86d461ff03c" providerId="ADAL" clId="{94A75A36-47B3-48E7-A95B-46F2FD266C0A}" dt="2023-12-19T11:43:36.526" v="18346" actId="478"/>
          <ac:spMkLst>
            <pc:docMk/>
            <pc:sldMk cId="3792250785" sldId="281"/>
            <ac:spMk id="3" creationId="{D75F8F99-B99A-CC04-4A3C-036E380740CA}"/>
          </ac:spMkLst>
        </pc:spChg>
        <pc:spChg chg="add mod">
          <ac:chgData name="WALKER, William" userId="22952978-5718-404d-bb8f-e86d461ff03c" providerId="ADAL" clId="{94A75A36-47B3-48E7-A95B-46F2FD266C0A}" dt="2023-12-19T13:30:24.284" v="18970" actId="33524"/>
          <ac:spMkLst>
            <pc:docMk/>
            <pc:sldMk cId="3792250785" sldId="281"/>
            <ac:spMk id="9" creationId="{80118955-4615-2062-040E-9F4F8EFF73E8}"/>
          </ac:spMkLst>
        </pc:spChg>
        <pc:spChg chg="add mod">
          <ac:chgData name="WALKER, William" userId="22952978-5718-404d-bb8f-e86d461ff03c" providerId="ADAL" clId="{94A75A36-47B3-48E7-A95B-46F2FD266C0A}" dt="2023-12-19T13:28:26.560" v="18765" actId="1076"/>
          <ac:spMkLst>
            <pc:docMk/>
            <pc:sldMk cId="3792250785" sldId="281"/>
            <ac:spMk id="14" creationId="{47E457F6-3018-E4B4-E940-A2868248557C}"/>
          </ac:spMkLst>
        </pc:spChg>
        <pc:picChg chg="add del mod">
          <ac:chgData name="WALKER, William" userId="22952978-5718-404d-bb8f-e86d461ff03c" providerId="ADAL" clId="{94A75A36-47B3-48E7-A95B-46F2FD266C0A}" dt="2023-12-19T11:52:11.287" v="18447" actId="478"/>
          <ac:picMkLst>
            <pc:docMk/>
            <pc:sldMk cId="3792250785" sldId="281"/>
            <ac:picMk id="5" creationId="{624CC36C-B402-254D-EF10-F0A135D7E1D6}"/>
          </ac:picMkLst>
        </pc:picChg>
        <pc:picChg chg="add del mod">
          <ac:chgData name="WALKER, William" userId="22952978-5718-404d-bb8f-e86d461ff03c" providerId="ADAL" clId="{94A75A36-47B3-48E7-A95B-46F2FD266C0A}" dt="2023-12-19T11:51:12.714" v="18443" actId="478"/>
          <ac:picMkLst>
            <pc:docMk/>
            <pc:sldMk cId="3792250785" sldId="281"/>
            <ac:picMk id="7" creationId="{52DA7FD4-65B1-654C-087A-69375DB30567}"/>
          </ac:picMkLst>
        </pc:picChg>
        <pc:picChg chg="add mod">
          <ac:chgData name="WALKER, William" userId="22952978-5718-404d-bb8f-e86d461ff03c" providerId="ADAL" clId="{94A75A36-47B3-48E7-A95B-46F2FD266C0A}" dt="2023-12-19T11:53:51.017" v="18592" actId="14100"/>
          <ac:picMkLst>
            <pc:docMk/>
            <pc:sldMk cId="3792250785" sldId="281"/>
            <ac:picMk id="11" creationId="{C62A301B-EF3D-B3D6-D159-20CD79EB3CC0}"/>
          </ac:picMkLst>
        </pc:picChg>
        <pc:picChg chg="add mod">
          <ac:chgData name="WALKER, William" userId="22952978-5718-404d-bb8f-e86d461ff03c" providerId="ADAL" clId="{94A75A36-47B3-48E7-A95B-46F2FD266C0A}" dt="2023-12-19T13:29:16.073" v="18865" actId="1076"/>
          <ac:picMkLst>
            <pc:docMk/>
            <pc:sldMk cId="3792250785" sldId="281"/>
            <ac:picMk id="13" creationId="{90A9A0B7-D366-A97C-70ED-83AFAA85ED4D}"/>
          </ac:picMkLst>
        </pc:picChg>
      </pc:sldChg>
      <pc:sldChg chg="modSp add mod">
        <pc:chgData name="WALKER, William" userId="22952978-5718-404d-bb8f-e86d461ff03c" providerId="ADAL" clId="{94A75A36-47B3-48E7-A95B-46F2FD266C0A}" dt="2024-01-05T13:55:04.194" v="19910" actId="20577"/>
        <pc:sldMkLst>
          <pc:docMk/>
          <pc:sldMk cId="2957143624" sldId="282"/>
        </pc:sldMkLst>
        <pc:spChg chg="mod">
          <ac:chgData name="WALKER, William" userId="22952978-5718-404d-bb8f-e86d461ff03c" providerId="ADAL" clId="{94A75A36-47B3-48E7-A95B-46F2FD266C0A}" dt="2024-01-05T13:55:04.194" v="19910" actId="20577"/>
          <ac:spMkLst>
            <pc:docMk/>
            <pc:sldMk cId="2957143624" sldId="282"/>
            <ac:spMk id="3" creationId="{E52168BF-8D4B-E89E-1F73-7A249AF2894E}"/>
          </ac:spMkLst>
        </pc:spChg>
      </pc:sldChg>
      <pc:sldChg chg="modSp add mod">
        <pc:chgData name="WALKER, William" userId="22952978-5718-404d-bb8f-e86d461ff03c" providerId="ADAL" clId="{94A75A36-47B3-48E7-A95B-46F2FD266C0A}" dt="2024-01-05T14:08:28.232" v="20096" actId="20577"/>
        <pc:sldMkLst>
          <pc:docMk/>
          <pc:sldMk cId="2392486338" sldId="283"/>
        </pc:sldMkLst>
        <pc:spChg chg="mod">
          <ac:chgData name="WALKER, William" userId="22952978-5718-404d-bb8f-e86d461ff03c" providerId="ADAL" clId="{94A75A36-47B3-48E7-A95B-46F2FD266C0A}" dt="2024-01-05T14:08:28.232" v="20096" actId="20577"/>
          <ac:spMkLst>
            <pc:docMk/>
            <pc:sldMk cId="2392486338" sldId="283"/>
            <ac:spMk id="3" creationId="{DAE0806E-CE69-F1CF-937B-8D5D498F920B}"/>
          </ac:spMkLst>
        </pc:spChg>
      </pc:sldChg>
      <pc:sldChg chg="modSp new mod">
        <pc:chgData name="WALKER, William" userId="22952978-5718-404d-bb8f-e86d461ff03c" providerId="ADAL" clId="{94A75A36-47B3-48E7-A95B-46F2FD266C0A}" dt="2024-01-05T14:22:19.264" v="20186" actId="20577"/>
        <pc:sldMkLst>
          <pc:docMk/>
          <pc:sldMk cId="3607761587" sldId="284"/>
        </pc:sldMkLst>
        <pc:spChg chg="mod">
          <ac:chgData name="WALKER, William" userId="22952978-5718-404d-bb8f-e86d461ff03c" providerId="ADAL" clId="{94A75A36-47B3-48E7-A95B-46F2FD266C0A}" dt="2024-01-05T14:18:23.135" v="20109" actId="20577"/>
          <ac:spMkLst>
            <pc:docMk/>
            <pc:sldMk cId="3607761587" sldId="284"/>
            <ac:spMk id="2" creationId="{293DDF40-92E8-9347-F45F-0D4F7984267F}"/>
          </ac:spMkLst>
        </pc:spChg>
        <pc:spChg chg="mod">
          <ac:chgData name="WALKER, William" userId="22952978-5718-404d-bb8f-e86d461ff03c" providerId="ADAL" clId="{94A75A36-47B3-48E7-A95B-46F2FD266C0A}" dt="2024-01-05T14:22:19.264" v="20186" actId="20577"/>
          <ac:spMkLst>
            <pc:docMk/>
            <pc:sldMk cId="3607761587" sldId="284"/>
            <ac:spMk id="3" creationId="{EB72243E-B731-E8E5-A3B3-E059D6A79140}"/>
          </ac:spMkLst>
        </pc:spChg>
      </pc:sldChg>
      <pc:sldChg chg="addSp delSp modSp new del mod">
        <pc:chgData name="WALKER, William" userId="22952978-5718-404d-bb8f-e86d461ff03c" providerId="ADAL" clId="{94A75A36-47B3-48E7-A95B-46F2FD266C0A}" dt="2024-01-08T16:30:44.192" v="20195" actId="47"/>
        <pc:sldMkLst>
          <pc:docMk/>
          <pc:sldMk cId="2828795703" sldId="285"/>
        </pc:sldMkLst>
        <pc:spChg chg="del">
          <ac:chgData name="WALKER, William" userId="22952978-5718-404d-bb8f-e86d461ff03c" providerId="ADAL" clId="{94A75A36-47B3-48E7-A95B-46F2FD266C0A}" dt="2024-01-08T16:30:21.709" v="20188" actId="478"/>
          <ac:spMkLst>
            <pc:docMk/>
            <pc:sldMk cId="2828795703" sldId="285"/>
            <ac:spMk id="2" creationId="{ABB916F5-362A-2FC6-EFE2-0D87FE84EF7B}"/>
          </ac:spMkLst>
        </pc:spChg>
        <pc:spChg chg="del">
          <ac:chgData name="WALKER, William" userId="22952978-5718-404d-bb8f-e86d461ff03c" providerId="ADAL" clId="{94A75A36-47B3-48E7-A95B-46F2FD266C0A}" dt="2024-01-08T16:30:22.522" v="20189" actId="478"/>
          <ac:spMkLst>
            <pc:docMk/>
            <pc:sldMk cId="2828795703" sldId="285"/>
            <ac:spMk id="3" creationId="{D78C8244-5367-16B0-4CC2-E66211DD41C5}"/>
          </ac:spMkLst>
        </pc:spChg>
        <pc:picChg chg="add del mod">
          <ac:chgData name="WALKER, William" userId="22952978-5718-404d-bb8f-e86d461ff03c" providerId="ADAL" clId="{94A75A36-47B3-48E7-A95B-46F2FD266C0A}" dt="2024-01-08T16:30:32.017" v="20193" actId="478"/>
          <ac:picMkLst>
            <pc:docMk/>
            <pc:sldMk cId="2828795703" sldId="285"/>
            <ac:picMk id="5" creationId="{9B9AB02E-77AD-9392-1988-FE965543D486}"/>
          </ac:picMkLst>
        </pc:picChg>
      </pc:sldChg>
      <pc:sldChg chg="add">
        <pc:chgData name="WALKER, William" userId="22952978-5718-404d-bb8f-e86d461ff03c" providerId="ADAL" clId="{94A75A36-47B3-48E7-A95B-46F2FD266C0A}" dt="2024-01-08T16:30:42.513" v="20194"/>
        <pc:sldMkLst>
          <pc:docMk/>
          <pc:sldMk cId="1318243382" sldId="2145706692"/>
        </pc:sldMkLst>
      </pc:sldChg>
      <pc:sldChg chg="new del">
        <pc:chgData name="WALKER, William" userId="22952978-5718-404d-bb8f-e86d461ff03c" providerId="ADAL" clId="{94A75A36-47B3-48E7-A95B-46F2FD266C0A}" dt="2024-01-10T09:39:49.767" v="20199" actId="47"/>
        <pc:sldMkLst>
          <pc:docMk/>
          <pc:sldMk cId="2520959625" sldId="2145706693"/>
        </pc:sldMkLst>
      </pc:sldChg>
    </pc:docChg>
  </pc:docChgLst>
</pc:chgInfo>
</file>

<file path=ppt/comments/modernComment_101_A35B1FAD.xml><?xml version="1.0" encoding="utf-8"?>
<p188:cmLst xmlns:a="http://schemas.openxmlformats.org/drawingml/2006/main" xmlns:r="http://schemas.openxmlformats.org/officeDocument/2006/relationships" xmlns:p188="http://schemas.microsoft.com/office/powerpoint/2018/8/main">
  <p188:cm id="{58C0F3A6-163D-41FB-9214-9F645CB63122}" authorId="{9978DD94-15C9-02CE-08B9-C8A71116F2FA}" created="2023-11-23T11:14:02.163">
    <ac:txMkLst xmlns:ac="http://schemas.microsoft.com/office/drawing/2013/main/command">
      <pc:docMk xmlns:pc="http://schemas.microsoft.com/office/powerpoint/2013/main/command"/>
      <pc:sldMk xmlns:pc="http://schemas.microsoft.com/office/powerpoint/2013/main/command" cId="2740658093" sldId="257"/>
      <ac:spMk id="7" creationId="{AC078095-AD2C-8D22-B3F1-8BB63FB941D3}"/>
      <ac:txMk cp="3" len="60">
        <ac:context len="112" hash="1685388700"/>
      </ac:txMk>
    </ac:txMkLst>
    <p188:pos x="1777124" y="368242"/>
    <p188:txBody>
      <a:bodyPr/>
      <a:lstStyle/>
      <a:p>
        <a:r>
          <a:rPr lang="en-GB"/>
          <a:t>That's separately revenue (more people) and capital (more buildings)</a:t>
        </a:r>
      </a:p>
    </p188:txBody>
    <p188:extLst>
      <p:ext xmlns:p="http://schemas.openxmlformats.org/presentationml/2006/main" uri="{57CB4572-C831-44C2-8A1C-0ADB6CCDFE69}">
        <p223:reactions xmlns:p223="http://schemas.microsoft.com/office/powerpoint/2022/03/main">
          <p223:rxn type="👍">
            <p223:instance time="2023-11-23T11:20:52.852" authorId="{D0E74CB9-573E-252D-E714-2DD9E237DA6F}"/>
          </p223:rxn>
        </p223:reactions>
      </p:ext>
    </p188:extLst>
  </p188:cm>
  <p188:cm id="{71476A05-C0F7-4578-8CDB-E7B5CE64640A}" authorId="{31E0B567-EA12-2076-CDDB-A157FA025C5A}" created="2023-11-24T13:36:06.578">
    <ac:txMkLst xmlns:ac="http://schemas.microsoft.com/office/drawing/2013/main/command">
      <pc:docMk xmlns:pc="http://schemas.microsoft.com/office/powerpoint/2013/main/command"/>
      <pc:sldMk xmlns:pc="http://schemas.microsoft.com/office/powerpoint/2013/main/command" cId="2740658093" sldId="257"/>
      <ac:spMk id="5" creationId="{290929A1-B17F-57FF-DA2E-25B78AD974B2}"/>
      <ac:txMk cp="22" len="208">
        <ac:context len="231" hash="332479710"/>
      </ac:txMk>
    </ac:txMkLst>
    <p188:pos x="2808057" y="379853"/>
    <p188:txBody>
      <a:bodyPr/>
      <a:lstStyle/>
      <a:p>
        <a:r>
          <a:rPr lang="en-GB"/>
          <a:t>We already had mad a start on some of that - so best to check in with me before kicking anything off in that space</a:t>
        </a:r>
      </a:p>
    </p188:txBody>
  </p188:cm>
</p188:cmLst>
</file>

<file path=ppt/comments/modernComment_102_16D63B5D.xml><?xml version="1.0" encoding="utf-8"?>
<p188:cmLst xmlns:a="http://schemas.openxmlformats.org/drawingml/2006/main" xmlns:r="http://schemas.openxmlformats.org/officeDocument/2006/relationships" xmlns:p188="http://schemas.microsoft.com/office/powerpoint/2018/8/main">
  <p188:cm id="{E53F3423-F2E4-41F0-8155-627BAA8C632A}" authorId="{9978DD94-15C9-02CE-08B9-C8A71116F2FA}" created="2023-11-23T11:20:33.973">
    <ac:txMkLst xmlns:ac="http://schemas.microsoft.com/office/drawing/2013/main/command">
      <pc:docMk xmlns:pc="http://schemas.microsoft.com/office/powerpoint/2013/main/command"/>
      <pc:sldMk xmlns:pc="http://schemas.microsoft.com/office/powerpoint/2013/main/command" cId="383138653" sldId="258"/>
      <ac:spMk id="6" creationId="{D4051D0F-41A4-2C48-9306-C59A1AAAA4DC}"/>
      <ac:txMk cp="28" len="78">
        <ac:context len="381" hash="23808634"/>
      </ac:txMk>
    </ac:txMkLst>
    <p188:pos x="4693465" y="490537"/>
    <p188:txBody>
      <a:bodyPr/>
      <a:lstStyle/>
      <a:p>
        <a:r>
          <a:rPr lang="en-GB"/>
          <a:t>In a minimal change scenario I can see how this would be the extent of changes; the ABS reform is broader than this so will potentially need to consider subjects and technical v academic switches </a:t>
        </a:r>
      </a:p>
    </p188:txBody>
  </p188:cm>
  <p188:cm id="{EED5354F-7914-43FA-8793-552F5B599A56}" authorId="{9978DD94-15C9-02CE-08B9-C8A71116F2FA}" created="2023-11-23T11:24:57.850">
    <ac:txMkLst xmlns:ac="http://schemas.microsoft.com/office/drawing/2013/main/command">
      <pc:docMk xmlns:pc="http://schemas.microsoft.com/office/powerpoint/2013/main/command"/>
      <pc:sldMk xmlns:pc="http://schemas.microsoft.com/office/powerpoint/2013/main/command" cId="383138653" sldId="258"/>
      <ac:spMk id="8" creationId="{7D7C49DD-5C31-3B06-D6BC-105FD4E8F39A}"/>
      <ac:txMk cp="580" len="45">
        <ac:context len="1583" hash="1132470446"/>
      </ac:txMk>
    </ac:txMkLst>
    <p188:pos x="5442446" y="2189168"/>
    <p188:txBody>
      <a:bodyPr/>
      <a:lstStyle/>
      <a:p>
        <a:r>
          <a:rPr lang="en-GB"/>
          <a:t>For maths to 18 this was simply a simple index with blanket application to all routes for any one year.  As above in initial stage suggest take similar broad brush approach rather than worry about differential increases in sub-groups and sub-national level.</a:t>
        </a:r>
      </a:p>
    </p188:txBody>
  </p188:cm>
  <p188:cm id="{A832483F-946C-4E8D-B74F-75BF6314F6D1}" authorId="{9978DD94-15C9-02CE-08B9-C8A71116F2FA}" created="2023-11-23T11:25:46.645">
    <ac:txMkLst xmlns:ac="http://schemas.microsoft.com/office/drawing/2013/main/command">
      <pc:docMk xmlns:pc="http://schemas.microsoft.com/office/powerpoint/2013/main/command"/>
      <pc:sldMk xmlns:pc="http://schemas.microsoft.com/office/powerpoint/2013/main/command" cId="383138653" sldId="258"/>
      <ac:spMk id="8" creationId="{7D7C49DD-5C31-3B06-D6BC-105FD4E8F39A}"/>
      <ac:txMk cp="722" len="63">
        <ac:context len="1583" hash="1132470446"/>
      </ac:txMk>
    </ac:txMkLst>
    <p188:pos x="5090021" y="2827343"/>
    <p188:txBody>
      <a:bodyPr/>
      <a:lstStyle/>
      <a:p>
        <a:r>
          <a:rPr lang="en-GB"/>
          <a:t>In my mind, this forms one aspect of scenario 2.</a:t>
        </a:r>
      </a:p>
    </p188:txBody>
  </p188:cm>
  <p188:cm id="{F6BFDB0F-CEEC-429C-8FB7-34E016793FE6}" authorId="{9978DD94-15C9-02CE-08B9-C8A71116F2FA}" created="2023-11-23T11:26:43.334">
    <ac:txMkLst xmlns:ac="http://schemas.microsoft.com/office/drawing/2013/main/command">
      <pc:docMk xmlns:pc="http://schemas.microsoft.com/office/powerpoint/2013/main/command"/>
      <pc:sldMk xmlns:pc="http://schemas.microsoft.com/office/powerpoint/2013/main/command" cId="383138653" sldId="258"/>
      <ac:spMk id="8" creationId="{7D7C49DD-5C31-3B06-D6BC-105FD4E8F39A}"/>
      <ac:txMk cp="1133" len="230">
        <ac:context len="1583" hash="1132470446"/>
      </ac:txMk>
    </ac:txMkLst>
    <p188:pos x="5813921" y="4322768"/>
    <p188:txBody>
      <a:bodyPr/>
      <a:lstStyle/>
      <a:p>
        <a:r>
          <a:rPr lang="en-GB"/>
          <a:t>We'll need to propose as doubt policy assumptions exist - even though I refer to them in my paper.</a:t>
        </a:r>
      </a:p>
    </p188:txBody>
  </p188:cm>
  <p188:cm id="{42BED7CB-6E5A-47DF-8BC4-2B82B7892676}" authorId="{31E0B567-EA12-2076-CDDB-A157FA025C5A}" created="2023-11-24T13:37:09.609">
    <ac:txMkLst xmlns:ac="http://schemas.microsoft.com/office/drawing/2013/main/command">
      <pc:docMk xmlns:pc="http://schemas.microsoft.com/office/powerpoint/2013/main/command"/>
      <pc:sldMk xmlns:pc="http://schemas.microsoft.com/office/powerpoint/2013/main/command" cId="383138653" sldId="258"/>
      <ac:spMk id="2" creationId="{8D8AE454-D051-FE45-8627-B2D4AA93770A}"/>
      <ac:txMk cp="4" len="16">
        <ac:context len="21" hash="2010121744"/>
      </ac:txMk>
    </ac:txMkLst>
    <p188:pos x="4491446" y="566692"/>
    <p188:txBody>
      <a:bodyPr/>
      <a:lstStyle/>
      <a:p>
        <a:r>
          <a:rPr lang="en-GB"/>
          <a:t>This is what Billy and Raff have already been working on though</a:t>
        </a:r>
      </a:p>
    </p188:txBody>
  </p188:cm>
</p188:cmLst>
</file>

<file path=ppt/comments/modernComment_103_41A776E2.xml><?xml version="1.0" encoding="utf-8"?>
<p188:cmLst xmlns:a="http://schemas.openxmlformats.org/drawingml/2006/main" xmlns:r="http://schemas.openxmlformats.org/officeDocument/2006/relationships" xmlns:p188="http://schemas.microsoft.com/office/powerpoint/2018/8/main">
  <p188:cm id="{8C38D3DE-C9ED-45D5-895A-19FE06BCBA8E}" authorId="{9978DD94-15C9-02CE-08B9-C8A71116F2FA}" created="2023-11-23T11:27:14.248">
    <ac:txMkLst xmlns:ac="http://schemas.microsoft.com/office/drawing/2013/main/command">
      <pc:docMk xmlns:pc="http://schemas.microsoft.com/office/powerpoint/2013/main/command"/>
      <pc:sldMk xmlns:pc="http://schemas.microsoft.com/office/powerpoint/2013/main/command" cId="1101493986" sldId="259"/>
      <ac:spMk id="4" creationId="{6F99F926-4834-7987-D5C3-AFB5D1EBE45C}"/>
      <ac:txMk cp="8" len="60">
        <ac:context len="202" hash="506950137"/>
      </ac:txMk>
    </ac:txMkLst>
    <p188:pos x="3540766" y="547687"/>
    <p188:txBody>
      <a:bodyPr/>
      <a:lstStyle/>
      <a:p>
        <a:r>
          <a:rPr lang="en-GB"/>
          <a:t>Need to consider all pathways not just E&amp;M.</a:t>
        </a:r>
      </a:p>
    </p188:txBody>
  </p188:cm>
  <p188:cm id="{95025F26-EBD7-4B6D-A6D4-6689BA60B718}" authorId="{9978DD94-15C9-02CE-08B9-C8A71116F2FA}" created="2023-11-23T11:27:53.915">
    <ac:txMkLst xmlns:ac="http://schemas.microsoft.com/office/drawing/2013/main/command">
      <pc:docMk xmlns:pc="http://schemas.microsoft.com/office/powerpoint/2013/main/command"/>
      <pc:sldMk xmlns:pc="http://schemas.microsoft.com/office/powerpoint/2013/main/command" cId="1101493986" sldId="259"/>
      <ac:spMk id="6" creationId="{E51BF0D1-B39A-38DE-BB7A-F15281E5A156}"/>
      <ac:txMk cp="79" len="16">
        <ac:context len="124" hash="1779132514"/>
      </ac:txMk>
    </ac:txMkLst>
    <p188:pos x="2891493" y="823912"/>
    <p188:txBody>
      <a:bodyPr/>
      <a:lstStyle/>
      <a:p>
        <a:r>
          <a:rPr lang="en-GB"/>
          <a:t>Wouldn’t do this regionally at this stage.  It adds a level of complexity for which we do not have evidence.</a:t>
        </a:r>
      </a:p>
    </p188:txBody>
  </p188:cm>
</p188:cmLst>
</file>

<file path=ppt/comments/modernComment_105_EC80B5.xml><?xml version="1.0" encoding="utf-8"?>
<p188:cmLst xmlns:a="http://schemas.openxmlformats.org/drawingml/2006/main" xmlns:r="http://schemas.openxmlformats.org/officeDocument/2006/relationships" xmlns:p188="http://schemas.microsoft.com/office/powerpoint/2018/8/main">
  <p188:cm id="{7AA5A8B2-4105-4DC5-8248-B31012C357CE}" authorId="{9978DD94-15C9-02CE-08B9-C8A71116F2FA}" created="2023-11-23T11:28:59.529">
    <ac:txMkLst xmlns:ac="http://schemas.microsoft.com/office/drawing/2013/main/command">
      <pc:docMk xmlns:pc="http://schemas.microsoft.com/office/powerpoint/2013/main/command"/>
      <pc:sldMk xmlns:pc="http://schemas.microsoft.com/office/powerpoint/2013/main/command" cId="15499445" sldId="261"/>
      <ac:spMk id="2" creationId="{92488033-D6B0-E395-136B-3E5B7D68AB35}"/>
      <ac:txMk cp="0" len="16">
        <ac:context len="17" hash="2860595148"/>
      </ac:txMk>
    </ac:txMkLst>
    <p188:pos x="3638550" y="577850"/>
    <p188:txBody>
      <a:bodyPr/>
      <a:lstStyle/>
      <a:p>
        <a:r>
          <a:rPr lang="en-GB"/>
          <a:t>We will hand this off to Wojtek (TAD) and Arthur Wodehouse (SPA) for revenue costs</a:t>
        </a:r>
      </a:p>
    </p188:txBody>
  </p188:cm>
  <p188:cm id="{E1C140E9-61A8-4F72-BCB1-4A70EDA5FE78}" authorId="{9978DD94-15C9-02CE-08B9-C8A71116F2FA}" created="2023-11-23T11:39:39.749">
    <pc:sldMkLst xmlns:pc="http://schemas.microsoft.com/office/powerpoint/2013/main/command">
      <pc:docMk/>
      <pc:sldMk cId="15499445" sldId="261"/>
    </pc:sldMkLst>
    <p188:txBody>
      <a:bodyPr/>
      <a:lstStyle/>
      <a:p>
        <a:r>
          <a:rPr lang="en-GB"/>
          <a:t>Sadly we wont have evidence on this.  I'd log it as an additional unknown cost which we haven't modelled.</a:t>
        </a:r>
      </a:p>
    </p188:txBody>
  </p188:cm>
</p188:cmLst>
</file>

<file path=ppt/comments/modernComment_106_A5F5D5C.xml><?xml version="1.0" encoding="utf-8"?>
<p188:cmLst xmlns:a="http://schemas.openxmlformats.org/drawingml/2006/main" xmlns:r="http://schemas.openxmlformats.org/officeDocument/2006/relationships" xmlns:p188="http://schemas.microsoft.com/office/powerpoint/2018/8/main">
  <p188:cm id="{1725F3C5-5AD7-4BEB-98E0-D1D8D6B344C0}" authorId="{9978DD94-15C9-02CE-08B9-C8A71116F2FA}" created="2023-11-23T11:40:29.786">
    <ac:txMkLst xmlns:ac="http://schemas.microsoft.com/office/drawing/2013/main/command">
      <pc:docMk xmlns:pc="http://schemas.microsoft.com/office/powerpoint/2013/main/command"/>
      <pc:sldMk xmlns:pc="http://schemas.microsoft.com/office/powerpoint/2013/main/command" cId="174021980" sldId="262"/>
      <ac:spMk id="2" creationId="{C1D812AE-EA20-92BE-5E47-A6E9D69ADD02}"/>
      <ac:txMk cp="3" len="21">
        <ac:context len="25" hash="3647362435"/>
      </ac:txMk>
    </ac:txMkLst>
    <p188:pos x="5167968" y="399270"/>
    <p188:txBody>
      <a:bodyPr/>
      <a:lstStyle/>
      <a:p>
        <a:r>
          <a:rPr lang="en-GB"/>
          <a:t>Isaac Hobbs is developing a ten-year timeline and is keen to know what needs to happen when on workforce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4B39E2-AB89-430F-9597-8269CEF58FE7}" type="datetimeFigureOut">
              <a:rPr lang="en-GB" smtClean="0"/>
              <a:t>05/01/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F4BC5F-2893-4B00-A8F3-53C1BA0343DE}" type="slidenum">
              <a:rPr lang="en-GB" smtClean="0"/>
              <a:t>‹#›</a:t>
            </a:fld>
            <a:endParaRPr lang="en-GB"/>
          </a:p>
        </p:txBody>
      </p:sp>
    </p:spTree>
    <p:extLst>
      <p:ext uri="{BB962C8B-B14F-4D97-AF65-F5344CB8AC3E}">
        <p14:creationId xmlns:p14="http://schemas.microsoft.com/office/powerpoint/2010/main" val="1867976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EF4BC5F-2893-4B00-A8F3-53C1BA0343DE}" type="slidenum">
              <a:rPr lang="en-GB" smtClean="0"/>
              <a:t>11</a:t>
            </a:fld>
            <a:endParaRPr lang="en-GB"/>
          </a:p>
        </p:txBody>
      </p:sp>
    </p:spTree>
    <p:extLst>
      <p:ext uri="{BB962C8B-B14F-4D97-AF65-F5344CB8AC3E}">
        <p14:creationId xmlns:p14="http://schemas.microsoft.com/office/powerpoint/2010/main" val="4510752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8721304-9641-42B2-8EA5-8EE91EEC12B4}" type="slidenum">
              <a:rPr lang="en-GB" smtClean="0"/>
              <a:t>21</a:t>
            </a:fld>
            <a:endParaRPr lang="en-GB"/>
          </a:p>
        </p:txBody>
      </p:sp>
    </p:spTree>
    <p:extLst>
      <p:ext uri="{BB962C8B-B14F-4D97-AF65-F5344CB8AC3E}">
        <p14:creationId xmlns:p14="http://schemas.microsoft.com/office/powerpoint/2010/main" val="36683958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446C13-2E22-043D-5186-60B2C148380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5924E453-99E6-D2BD-745B-1CEC3E161C0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66C5AE0-46FC-F9D0-D69D-19495DB7B0A1}"/>
              </a:ext>
            </a:extLst>
          </p:cNvPr>
          <p:cNvSpPr>
            <a:spLocks noGrp="1"/>
          </p:cNvSpPr>
          <p:nvPr>
            <p:ph type="dt" sz="half" idx="10"/>
          </p:nvPr>
        </p:nvSpPr>
        <p:spPr/>
        <p:txBody>
          <a:bodyPr/>
          <a:lstStyle/>
          <a:p>
            <a:fld id="{BDDA6B6C-37B8-4A12-9F2B-62C62BD7689C}" type="datetimeFigureOut">
              <a:rPr lang="en-GB" smtClean="0"/>
              <a:t>05/01/2024</a:t>
            </a:fld>
            <a:endParaRPr lang="en-GB"/>
          </a:p>
        </p:txBody>
      </p:sp>
      <p:sp>
        <p:nvSpPr>
          <p:cNvPr id="5" name="Footer Placeholder 4">
            <a:extLst>
              <a:ext uri="{FF2B5EF4-FFF2-40B4-BE49-F238E27FC236}">
                <a16:creationId xmlns:a16="http://schemas.microsoft.com/office/drawing/2014/main" id="{8FBB43D8-BC6B-6C80-2145-BE665928CE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AA1CADE-2892-A44E-168E-387672BC5EAC}"/>
              </a:ext>
            </a:extLst>
          </p:cNvPr>
          <p:cNvSpPr>
            <a:spLocks noGrp="1"/>
          </p:cNvSpPr>
          <p:nvPr>
            <p:ph type="sldNum" sz="quarter" idx="12"/>
          </p:nvPr>
        </p:nvSpPr>
        <p:spPr/>
        <p:txBody>
          <a:bodyPr/>
          <a:lstStyle/>
          <a:p>
            <a:fld id="{D01709E9-EF7E-46D0-9B07-425ABDB6A08B}" type="slidenum">
              <a:rPr lang="en-GB" smtClean="0"/>
              <a:t>‹#›</a:t>
            </a:fld>
            <a:endParaRPr lang="en-GB"/>
          </a:p>
        </p:txBody>
      </p:sp>
    </p:spTree>
    <p:extLst>
      <p:ext uri="{BB962C8B-B14F-4D97-AF65-F5344CB8AC3E}">
        <p14:creationId xmlns:p14="http://schemas.microsoft.com/office/powerpoint/2010/main" val="18721006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7BD8D6-4D66-2FF6-6ADC-98C41B539121}"/>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C3CF349-BB1A-621A-38A0-4E36BE6ED04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05A68BD-93CA-75FB-9D70-3B5C85C6BB36}"/>
              </a:ext>
            </a:extLst>
          </p:cNvPr>
          <p:cNvSpPr>
            <a:spLocks noGrp="1"/>
          </p:cNvSpPr>
          <p:nvPr>
            <p:ph type="dt" sz="half" idx="10"/>
          </p:nvPr>
        </p:nvSpPr>
        <p:spPr/>
        <p:txBody>
          <a:bodyPr/>
          <a:lstStyle/>
          <a:p>
            <a:fld id="{BDDA6B6C-37B8-4A12-9F2B-62C62BD7689C}" type="datetimeFigureOut">
              <a:rPr lang="en-GB" smtClean="0"/>
              <a:t>05/01/2024</a:t>
            </a:fld>
            <a:endParaRPr lang="en-GB"/>
          </a:p>
        </p:txBody>
      </p:sp>
      <p:sp>
        <p:nvSpPr>
          <p:cNvPr id="5" name="Footer Placeholder 4">
            <a:extLst>
              <a:ext uri="{FF2B5EF4-FFF2-40B4-BE49-F238E27FC236}">
                <a16:creationId xmlns:a16="http://schemas.microsoft.com/office/drawing/2014/main" id="{F7D4FC1B-54C9-2BB1-1B6A-922FBB0FE8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5F9323D-D4E0-4294-533A-F2CDF33A36D7}"/>
              </a:ext>
            </a:extLst>
          </p:cNvPr>
          <p:cNvSpPr>
            <a:spLocks noGrp="1"/>
          </p:cNvSpPr>
          <p:nvPr>
            <p:ph type="sldNum" sz="quarter" idx="12"/>
          </p:nvPr>
        </p:nvSpPr>
        <p:spPr/>
        <p:txBody>
          <a:bodyPr/>
          <a:lstStyle/>
          <a:p>
            <a:fld id="{D01709E9-EF7E-46D0-9B07-425ABDB6A08B}" type="slidenum">
              <a:rPr lang="en-GB" smtClean="0"/>
              <a:t>‹#›</a:t>
            </a:fld>
            <a:endParaRPr lang="en-GB"/>
          </a:p>
        </p:txBody>
      </p:sp>
    </p:spTree>
    <p:extLst>
      <p:ext uri="{BB962C8B-B14F-4D97-AF65-F5344CB8AC3E}">
        <p14:creationId xmlns:p14="http://schemas.microsoft.com/office/powerpoint/2010/main" val="40119112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65FDB7-D53C-392E-32B7-00D1D03172A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D7E35E3-7BAE-5CDE-2D74-44C7E9A25D8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F230DD5-081A-81FF-7536-F47E78CC7F5B}"/>
              </a:ext>
            </a:extLst>
          </p:cNvPr>
          <p:cNvSpPr>
            <a:spLocks noGrp="1"/>
          </p:cNvSpPr>
          <p:nvPr>
            <p:ph type="dt" sz="half" idx="10"/>
          </p:nvPr>
        </p:nvSpPr>
        <p:spPr/>
        <p:txBody>
          <a:bodyPr/>
          <a:lstStyle/>
          <a:p>
            <a:fld id="{BDDA6B6C-37B8-4A12-9F2B-62C62BD7689C}" type="datetimeFigureOut">
              <a:rPr lang="en-GB" smtClean="0"/>
              <a:t>05/01/2024</a:t>
            </a:fld>
            <a:endParaRPr lang="en-GB"/>
          </a:p>
        </p:txBody>
      </p:sp>
      <p:sp>
        <p:nvSpPr>
          <p:cNvPr id="5" name="Footer Placeholder 4">
            <a:extLst>
              <a:ext uri="{FF2B5EF4-FFF2-40B4-BE49-F238E27FC236}">
                <a16:creationId xmlns:a16="http://schemas.microsoft.com/office/drawing/2014/main" id="{16B3CC61-2C4B-187B-765B-21A539199E0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5E186F8-3D3C-9628-1CA7-1919D5B6F91B}"/>
              </a:ext>
            </a:extLst>
          </p:cNvPr>
          <p:cNvSpPr>
            <a:spLocks noGrp="1"/>
          </p:cNvSpPr>
          <p:nvPr>
            <p:ph type="sldNum" sz="quarter" idx="12"/>
          </p:nvPr>
        </p:nvSpPr>
        <p:spPr/>
        <p:txBody>
          <a:bodyPr/>
          <a:lstStyle/>
          <a:p>
            <a:fld id="{D01709E9-EF7E-46D0-9B07-425ABDB6A08B}" type="slidenum">
              <a:rPr lang="en-GB" smtClean="0"/>
              <a:t>‹#›</a:t>
            </a:fld>
            <a:endParaRPr lang="en-GB"/>
          </a:p>
        </p:txBody>
      </p:sp>
    </p:spTree>
    <p:extLst>
      <p:ext uri="{BB962C8B-B14F-4D97-AF65-F5344CB8AC3E}">
        <p14:creationId xmlns:p14="http://schemas.microsoft.com/office/powerpoint/2010/main" val="11673931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1"/>
            </p:custDataLst>
            <p:extLst>
              <p:ext uri="{D42A27DB-BD31-4B8C-83A1-F6EECF244321}">
                <p14:modId xmlns:p14="http://schemas.microsoft.com/office/powerpoint/2010/main" val="3524501015"/>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4" imgW="501" imgH="501" progId="TCLayout.ActiveDocument.1">
                  <p:embed/>
                </p:oleObj>
              </mc:Choice>
              <mc:Fallback>
                <p:oleObj name="think-cell Slide" r:id="rId4" imgW="501" imgH="501" progId="TCLayout.ActiveDocument.1">
                  <p:embed/>
                  <p:pic>
                    <p:nvPicPr>
                      <p:cNvPr id="15" name="Object 14"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6" name="Rectangle 5" hidden="1"/>
          <p:cNvSpPr/>
          <p:nvPr userDrawn="1">
            <p:custDataLst>
              <p:tags r:id="rId2"/>
            </p:custDataLst>
          </p:nvPr>
        </p:nvSpPr>
        <p:spPr bwMode="auto">
          <a:xfrm>
            <a:off x="0" y="0"/>
            <a:ext cx="195384"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923" b="0" i="0" baseline="0">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43935" y="1716"/>
            <a:ext cx="11808717" cy="701731"/>
          </a:xfrm>
        </p:spPr>
        <p:txBody>
          <a:bodyPr>
            <a:spAutoFit/>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E9403965-1113-4FF4-B2E5-2E7776C5E036}" type="slidenum">
              <a:rPr lang="en-GB" smtClean="0"/>
              <a:pPr/>
              <a:t>‹#›</a:t>
            </a:fld>
            <a:endParaRPr lang="en-GB"/>
          </a:p>
        </p:txBody>
      </p:sp>
    </p:spTree>
    <p:extLst>
      <p:ext uri="{BB962C8B-B14F-4D97-AF65-F5344CB8AC3E}">
        <p14:creationId xmlns:p14="http://schemas.microsoft.com/office/powerpoint/2010/main" val="23990256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82262B-09A8-6677-CD2D-E68B199AB31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D049E15-DFC9-A896-34B1-6E953846804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29F6228-5C3E-1D66-574A-72DAE5BB8E47}"/>
              </a:ext>
            </a:extLst>
          </p:cNvPr>
          <p:cNvSpPr>
            <a:spLocks noGrp="1"/>
          </p:cNvSpPr>
          <p:nvPr>
            <p:ph type="dt" sz="half" idx="10"/>
          </p:nvPr>
        </p:nvSpPr>
        <p:spPr/>
        <p:txBody>
          <a:bodyPr/>
          <a:lstStyle/>
          <a:p>
            <a:fld id="{BDDA6B6C-37B8-4A12-9F2B-62C62BD7689C}" type="datetimeFigureOut">
              <a:rPr lang="en-GB" smtClean="0"/>
              <a:t>05/01/2024</a:t>
            </a:fld>
            <a:endParaRPr lang="en-GB"/>
          </a:p>
        </p:txBody>
      </p:sp>
      <p:sp>
        <p:nvSpPr>
          <p:cNvPr id="5" name="Footer Placeholder 4">
            <a:extLst>
              <a:ext uri="{FF2B5EF4-FFF2-40B4-BE49-F238E27FC236}">
                <a16:creationId xmlns:a16="http://schemas.microsoft.com/office/drawing/2014/main" id="{BE0FF89E-8E2B-FA59-966E-D6952C60CB7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4F3F4BD-F13D-BE3E-7617-874554945C7D}"/>
              </a:ext>
            </a:extLst>
          </p:cNvPr>
          <p:cNvSpPr>
            <a:spLocks noGrp="1"/>
          </p:cNvSpPr>
          <p:nvPr>
            <p:ph type="sldNum" sz="quarter" idx="12"/>
          </p:nvPr>
        </p:nvSpPr>
        <p:spPr/>
        <p:txBody>
          <a:bodyPr/>
          <a:lstStyle/>
          <a:p>
            <a:fld id="{D01709E9-EF7E-46D0-9B07-425ABDB6A08B}" type="slidenum">
              <a:rPr lang="en-GB" smtClean="0"/>
              <a:t>‹#›</a:t>
            </a:fld>
            <a:endParaRPr lang="en-GB"/>
          </a:p>
        </p:txBody>
      </p:sp>
    </p:spTree>
    <p:extLst>
      <p:ext uri="{BB962C8B-B14F-4D97-AF65-F5344CB8AC3E}">
        <p14:creationId xmlns:p14="http://schemas.microsoft.com/office/powerpoint/2010/main" val="1034269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8EE1BA-9586-DCD1-03C8-A743097F665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5F741F7-1B4B-C5F8-B402-065BF102680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E6C0665-B606-BA8F-B34E-E9AF9575290E}"/>
              </a:ext>
            </a:extLst>
          </p:cNvPr>
          <p:cNvSpPr>
            <a:spLocks noGrp="1"/>
          </p:cNvSpPr>
          <p:nvPr>
            <p:ph type="dt" sz="half" idx="10"/>
          </p:nvPr>
        </p:nvSpPr>
        <p:spPr/>
        <p:txBody>
          <a:bodyPr/>
          <a:lstStyle/>
          <a:p>
            <a:fld id="{BDDA6B6C-37B8-4A12-9F2B-62C62BD7689C}" type="datetimeFigureOut">
              <a:rPr lang="en-GB" smtClean="0"/>
              <a:t>05/01/2024</a:t>
            </a:fld>
            <a:endParaRPr lang="en-GB"/>
          </a:p>
        </p:txBody>
      </p:sp>
      <p:sp>
        <p:nvSpPr>
          <p:cNvPr id="5" name="Footer Placeholder 4">
            <a:extLst>
              <a:ext uri="{FF2B5EF4-FFF2-40B4-BE49-F238E27FC236}">
                <a16:creationId xmlns:a16="http://schemas.microsoft.com/office/drawing/2014/main" id="{2A47C43E-2A9C-8775-48B3-8558B3417C3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AF803F2-9CCC-09D8-5089-1969D9EF82CB}"/>
              </a:ext>
            </a:extLst>
          </p:cNvPr>
          <p:cNvSpPr>
            <a:spLocks noGrp="1"/>
          </p:cNvSpPr>
          <p:nvPr>
            <p:ph type="sldNum" sz="quarter" idx="12"/>
          </p:nvPr>
        </p:nvSpPr>
        <p:spPr/>
        <p:txBody>
          <a:bodyPr/>
          <a:lstStyle/>
          <a:p>
            <a:fld id="{D01709E9-EF7E-46D0-9B07-425ABDB6A08B}" type="slidenum">
              <a:rPr lang="en-GB" smtClean="0"/>
              <a:t>‹#›</a:t>
            </a:fld>
            <a:endParaRPr lang="en-GB"/>
          </a:p>
        </p:txBody>
      </p:sp>
    </p:spTree>
    <p:extLst>
      <p:ext uri="{BB962C8B-B14F-4D97-AF65-F5344CB8AC3E}">
        <p14:creationId xmlns:p14="http://schemas.microsoft.com/office/powerpoint/2010/main" val="4527218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8BB1B-F746-7FE9-E973-CF2BFC33914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DA2D31B-2708-4167-CC59-EC397C20B17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62ACD62E-0C65-FC18-70BC-2982040DB7F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4AD894F-624E-2B7A-2E1C-8DDB566D0157}"/>
              </a:ext>
            </a:extLst>
          </p:cNvPr>
          <p:cNvSpPr>
            <a:spLocks noGrp="1"/>
          </p:cNvSpPr>
          <p:nvPr>
            <p:ph type="dt" sz="half" idx="10"/>
          </p:nvPr>
        </p:nvSpPr>
        <p:spPr/>
        <p:txBody>
          <a:bodyPr/>
          <a:lstStyle/>
          <a:p>
            <a:fld id="{BDDA6B6C-37B8-4A12-9F2B-62C62BD7689C}" type="datetimeFigureOut">
              <a:rPr lang="en-GB" smtClean="0"/>
              <a:t>05/01/2024</a:t>
            </a:fld>
            <a:endParaRPr lang="en-GB"/>
          </a:p>
        </p:txBody>
      </p:sp>
      <p:sp>
        <p:nvSpPr>
          <p:cNvPr id="6" name="Footer Placeholder 5">
            <a:extLst>
              <a:ext uri="{FF2B5EF4-FFF2-40B4-BE49-F238E27FC236}">
                <a16:creationId xmlns:a16="http://schemas.microsoft.com/office/drawing/2014/main" id="{5DAEDA83-4210-844E-7548-64022038CF3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855E0C6-7503-DE67-09D9-57B7F1A763C8}"/>
              </a:ext>
            </a:extLst>
          </p:cNvPr>
          <p:cNvSpPr>
            <a:spLocks noGrp="1"/>
          </p:cNvSpPr>
          <p:nvPr>
            <p:ph type="sldNum" sz="quarter" idx="12"/>
          </p:nvPr>
        </p:nvSpPr>
        <p:spPr/>
        <p:txBody>
          <a:bodyPr/>
          <a:lstStyle/>
          <a:p>
            <a:fld id="{D01709E9-EF7E-46D0-9B07-425ABDB6A08B}" type="slidenum">
              <a:rPr lang="en-GB" smtClean="0"/>
              <a:t>‹#›</a:t>
            </a:fld>
            <a:endParaRPr lang="en-GB"/>
          </a:p>
        </p:txBody>
      </p:sp>
    </p:spTree>
    <p:extLst>
      <p:ext uri="{BB962C8B-B14F-4D97-AF65-F5344CB8AC3E}">
        <p14:creationId xmlns:p14="http://schemas.microsoft.com/office/powerpoint/2010/main" val="30153696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1612D-AFEC-C252-C592-A1BB225A3250}"/>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DBAA15E-5EF2-2E9D-5237-A872D4131EE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213F28A-5725-CD30-8246-534BE23176F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8AFE907-71B5-6195-BD3C-6A3C8B64BD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31D5566-EF3F-2923-3E3F-6A785EC1DB3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0368937F-0E4D-BEA6-1357-90B757E7FEB7}"/>
              </a:ext>
            </a:extLst>
          </p:cNvPr>
          <p:cNvSpPr>
            <a:spLocks noGrp="1"/>
          </p:cNvSpPr>
          <p:nvPr>
            <p:ph type="dt" sz="half" idx="10"/>
          </p:nvPr>
        </p:nvSpPr>
        <p:spPr/>
        <p:txBody>
          <a:bodyPr/>
          <a:lstStyle/>
          <a:p>
            <a:fld id="{BDDA6B6C-37B8-4A12-9F2B-62C62BD7689C}" type="datetimeFigureOut">
              <a:rPr lang="en-GB" smtClean="0"/>
              <a:t>05/01/2024</a:t>
            </a:fld>
            <a:endParaRPr lang="en-GB"/>
          </a:p>
        </p:txBody>
      </p:sp>
      <p:sp>
        <p:nvSpPr>
          <p:cNvPr id="8" name="Footer Placeholder 7">
            <a:extLst>
              <a:ext uri="{FF2B5EF4-FFF2-40B4-BE49-F238E27FC236}">
                <a16:creationId xmlns:a16="http://schemas.microsoft.com/office/drawing/2014/main" id="{0F1CC629-9397-701C-3446-9FE9BC0FEAA6}"/>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39197832-83B4-85D5-6C73-409B221166BA}"/>
              </a:ext>
            </a:extLst>
          </p:cNvPr>
          <p:cNvSpPr>
            <a:spLocks noGrp="1"/>
          </p:cNvSpPr>
          <p:nvPr>
            <p:ph type="sldNum" sz="quarter" idx="12"/>
          </p:nvPr>
        </p:nvSpPr>
        <p:spPr/>
        <p:txBody>
          <a:bodyPr/>
          <a:lstStyle/>
          <a:p>
            <a:fld id="{D01709E9-EF7E-46D0-9B07-425ABDB6A08B}" type="slidenum">
              <a:rPr lang="en-GB" smtClean="0"/>
              <a:t>‹#›</a:t>
            </a:fld>
            <a:endParaRPr lang="en-GB"/>
          </a:p>
        </p:txBody>
      </p:sp>
    </p:spTree>
    <p:extLst>
      <p:ext uri="{BB962C8B-B14F-4D97-AF65-F5344CB8AC3E}">
        <p14:creationId xmlns:p14="http://schemas.microsoft.com/office/powerpoint/2010/main" val="28921397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1FE4F-B7CE-7E98-3D16-E3F89CAAFF9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B5C78984-7C4A-42E5-BDF2-5C5481B41091}"/>
              </a:ext>
            </a:extLst>
          </p:cNvPr>
          <p:cNvSpPr>
            <a:spLocks noGrp="1"/>
          </p:cNvSpPr>
          <p:nvPr>
            <p:ph type="dt" sz="half" idx="10"/>
          </p:nvPr>
        </p:nvSpPr>
        <p:spPr/>
        <p:txBody>
          <a:bodyPr/>
          <a:lstStyle/>
          <a:p>
            <a:fld id="{BDDA6B6C-37B8-4A12-9F2B-62C62BD7689C}" type="datetimeFigureOut">
              <a:rPr lang="en-GB" smtClean="0"/>
              <a:t>05/01/2024</a:t>
            </a:fld>
            <a:endParaRPr lang="en-GB"/>
          </a:p>
        </p:txBody>
      </p:sp>
      <p:sp>
        <p:nvSpPr>
          <p:cNvPr id="4" name="Footer Placeholder 3">
            <a:extLst>
              <a:ext uri="{FF2B5EF4-FFF2-40B4-BE49-F238E27FC236}">
                <a16:creationId xmlns:a16="http://schemas.microsoft.com/office/drawing/2014/main" id="{8D43250B-CA71-71FB-E8AE-AF232C405E7B}"/>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DE98BAB-2450-08B9-E624-E1F4379D45A5}"/>
              </a:ext>
            </a:extLst>
          </p:cNvPr>
          <p:cNvSpPr>
            <a:spLocks noGrp="1"/>
          </p:cNvSpPr>
          <p:nvPr>
            <p:ph type="sldNum" sz="quarter" idx="12"/>
          </p:nvPr>
        </p:nvSpPr>
        <p:spPr/>
        <p:txBody>
          <a:bodyPr/>
          <a:lstStyle/>
          <a:p>
            <a:fld id="{D01709E9-EF7E-46D0-9B07-425ABDB6A08B}" type="slidenum">
              <a:rPr lang="en-GB" smtClean="0"/>
              <a:t>‹#›</a:t>
            </a:fld>
            <a:endParaRPr lang="en-GB"/>
          </a:p>
        </p:txBody>
      </p:sp>
    </p:spTree>
    <p:extLst>
      <p:ext uri="{BB962C8B-B14F-4D97-AF65-F5344CB8AC3E}">
        <p14:creationId xmlns:p14="http://schemas.microsoft.com/office/powerpoint/2010/main" val="14283021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862E366-BA6E-01CD-723A-694D8200F4E2}"/>
              </a:ext>
            </a:extLst>
          </p:cNvPr>
          <p:cNvSpPr>
            <a:spLocks noGrp="1"/>
          </p:cNvSpPr>
          <p:nvPr>
            <p:ph type="dt" sz="half" idx="10"/>
          </p:nvPr>
        </p:nvSpPr>
        <p:spPr/>
        <p:txBody>
          <a:bodyPr/>
          <a:lstStyle/>
          <a:p>
            <a:fld id="{BDDA6B6C-37B8-4A12-9F2B-62C62BD7689C}" type="datetimeFigureOut">
              <a:rPr lang="en-GB" smtClean="0"/>
              <a:t>05/01/2024</a:t>
            </a:fld>
            <a:endParaRPr lang="en-GB"/>
          </a:p>
        </p:txBody>
      </p:sp>
      <p:sp>
        <p:nvSpPr>
          <p:cNvPr id="3" name="Footer Placeholder 2">
            <a:extLst>
              <a:ext uri="{FF2B5EF4-FFF2-40B4-BE49-F238E27FC236}">
                <a16:creationId xmlns:a16="http://schemas.microsoft.com/office/drawing/2014/main" id="{E706B82E-ED57-4848-3049-6DB9FB827E0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633A66-2FBC-D718-3FA7-C3784D2AAEC7}"/>
              </a:ext>
            </a:extLst>
          </p:cNvPr>
          <p:cNvSpPr>
            <a:spLocks noGrp="1"/>
          </p:cNvSpPr>
          <p:nvPr>
            <p:ph type="sldNum" sz="quarter" idx="12"/>
          </p:nvPr>
        </p:nvSpPr>
        <p:spPr/>
        <p:txBody>
          <a:bodyPr/>
          <a:lstStyle/>
          <a:p>
            <a:fld id="{D01709E9-EF7E-46D0-9B07-425ABDB6A08B}" type="slidenum">
              <a:rPr lang="en-GB" smtClean="0"/>
              <a:t>‹#›</a:t>
            </a:fld>
            <a:endParaRPr lang="en-GB"/>
          </a:p>
        </p:txBody>
      </p:sp>
    </p:spTree>
    <p:extLst>
      <p:ext uri="{BB962C8B-B14F-4D97-AF65-F5344CB8AC3E}">
        <p14:creationId xmlns:p14="http://schemas.microsoft.com/office/powerpoint/2010/main" val="4557374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F5023-7DE5-41B2-A65D-E971A5FDCAD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2795638-B7FB-FBFD-315A-04FABCA73C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CCC24B0-5E09-58D8-FAFD-42204148A6B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FD5085-B711-819D-830C-906A47B69BF8}"/>
              </a:ext>
            </a:extLst>
          </p:cNvPr>
          <p:cNvSpPr>
            <a:spLocks noGrp="1"/>
          </p:cNvSpPr>
          <p:nvPr>
            <p:ph type="dt" sz="half" idx="10"/>
          </p:nvPr>
        </p:nvSpPr>
        <p:spPr/>
        <p:txBody>
          <a:bodyPr/>
          <a:lstStyle/>
          <a:p>
            <a:fld id="{BDDA6B6C-37B8-4A12-9F2B-62C62BD7689C}" type="datetimeFigureOut">
              <a:rPr lang="en-GB" smtClean="0"/>
              <a:t>05/01/2024</a:t>
            </a:fld>
            <a:endParaRPr lang="en-GB"/>
          </a:p>
        </p:txBody>
      </p:sp>
      <p:sp>
        <p:nvSpPr>
          <p:cNvPr id="6" name="Footer Placeholder 5">
            <a:extLst>
              <a:ext uri="{FF2B5EF4-FFF2-40B4-BE49-F238E27FC236}">
                <a16:creationId xmlns:a16="http://schemas.microsoft.com/office/drawing/2014/main" id="{950F007B-8FBE-6784-97BC-11C51564A3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CDD6755-A663-1BA3-8A20-218D63EF92E9}"/>
              </a:ext>
            </a:extLst>
          </p:cNvPr>
          <p:cNvSpPr>
            <a:spLocks noGrp="1"/>
          </p:cNvSpPr>
          <p:nvPr>
            <p:ph type="sldNum" sz="quarter" idx="12"/>
          </p:nvPr>
        </p:nvSpPr>
        <p:spPr/>
        <p:txBody>
          <a:bodyPr/>
          <a:lstStyle/>
          <a:p>
            <a:fld id="{D01709E9-EF7E-46D0-9B07-425ABDB6A08B}" type="slidenum">
              <a:rPr lang="en-GB" smtClean="0"/>
              <a:t>‹#›</a:t>
            </a:fld>
            <a:endParaRPr lang="en-GB"/>
          </a:p>
        </p:txBody>
      </p:sp>
    </p:spTree>
    <p:extLst>
      <p:ext uri="{BB962C8B-B14F-4D97-AF65-F5344CB8AC3E}">
        <p14:creationId xmlns:p14="http://schemas.microsoft.com/office/powerpoint/2010/main" val="25816216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5D335B-A4CE-D891-33DA-46782CFBA9C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FBFDF504-0144-B961-B8D1-70EEF8E1DD7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9244EC50-D9F5-A523-6CA4-53765AEAA7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3FE7C2A-51E9-D0E3-3395-DAB43D9C1701}"/>
              </a:ext>
            </a:extLst>
          </p:cNvPr>
          <p:cNvSpPr>
            <a:spLocks noGrp="1"/>
          </p:cNvSpPr>
          <p:nvPr>
            <p:ph type="dt" sz="half" idx="10"/>
          </p:nvPr>
        </p:nvSpPr>
        <p:spPr/>
        <p:txBody>
          <a:bodyPr/>
          <a:lstStyle/>
          <a:p>
            <a:fld id="{BDDA6B6C-37B8-4A12-9F2B-62C62BD7689C}" type="datetimeFigureOut">
              <a:rPr lang="en-GB" smtClean="0"/>
              <a:t>05/01/2024</a:t>
            </a:fld>
            <a:endParaRPr lang="en-GB"/>
          </a:p>
        </p:txBody>
      </p:sp>
      <p:sp>
        <p:nvSpPr>
          <p:cNvPr id="6" name="Footer Placeholder 5">
            <a:extLst>
              <a:ext uri="{FF2B5EF4-FFF2-40B4-BE49-F238E27FC236}">
                <a16:creationId xmlns:a16="http://schemas.microsoft.com/office/drawing/2014/main" id="{E28E829C-CB17-D49A-3DFC-7843AF9F1DA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2BFF319-7386-E162-6026-C102ABF93EFE}"/>
              </a:ext>
            </a:extLst>
          </p:cNvPr>
          <p:cNvSpPr>
            <a:spLocks noGrp="1"/>
          </p:cNvSpPr>
          <p:nvPr>
            <p:ph type="sldNum" sz="quarter" idx="12"/>
          </p:nvPr>
        </p:nvSpPr>
        <p:spPr/>
        <p:txBody>
          <a:bodyPr/>
          <a:lstStyle/>
          <a:p>
            <a:fld id="{D01709E9-EF7E-46D0-9B07-425ABDB6A08B}" type="slidenum">
              <a:rPr lang="en-GB" smtClean="0"/>
              <a:t>‹#›</a:t>
            </a:fld>
            <a:endParaRPr lang="en-GB"/>
          </a:p>
        </p:txBody>
      </p:sp>
    </p:spTree>
    <p:extLst>
      <p:ext uri="{BB962C8B-B14F-4D97-AF65-F5344CB8AC3E}">
        <p14:creationId xmlns:p14="http://schemas.microsoft.com/office/powerpoint/2010/main" val="36251401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5E3D7B6-DFD7-8D9C-25EA-DF3A08EBFDA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1D46CF1-8BED-3252-7373-730B4CA1056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443B121-F4C5-D90D-B2F6-BD35B9BB11E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DDA6B6C-37B8-4A12-9F2B-62C62BD7689C}" type="datetimeFigureOut">
              <a:rPr lang="en-GB" smtClean="0"/>
              <a:t>05/01/2024</a:t>
            </a:fld>
            <a:endParaRPr lang="en-GB"/>
          </a:p>
        </p:txBody>
      </p:sp>
      <p:sp>
        <p:nvSpPr>
          <p:cNvPr id="5" name="Footer Placeholder 4">
            <a:extLst>
              <a:ext uri="{FF2B5EF4-FFF2-40B4-BE49-F238E27FC236}">
                <a16:creationId xmlns:a16="http://schemas.microsoft.com/office/drawing/2014/main" id="{BE34B302-5B00-DFE5-81A3-8655B01A859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DB73E88F-66EE-677B-BADD-9216AFA43BB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1709E9-EF7E-46D0-9B07-425ABDB6A08B}" type="slidenum">
              <a:rPr lang="en-GB" smtClean="0"/>
              <a:t>‹#›</a:t>
            </a:fld>
            <a:endParaRPr lang="en-GB"/>
          </a:p>
        </p:txBody>
      </p:sp>
    </p:spTree>
    <p:extLst>
      <p:ext uri="{BB962C8B-B14F-4D97-AF65-F5344CB8AC3E}">
        <p14:creationId xmlns:p14="http://schemas.microsoft.com/office/powerpoint/2010/main" val="14096103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microsoft.com/office/2018/10/relationships/comments" Target="../comments/modernComment_101_A35B1FAD.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microsoft.com/office/2018/10/relationships/comments" Target="../comments/modernComment_102_16D63B5D.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microsoft.com/office/2018/10/relationships/comments" Target="../comments/modernComment_103_41A776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microsoft.com/office/2018/10/relationships/comments" Target="../comments/modernComment_105_EC80B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microsoft.com/office/2018/10/relationships/comments" Target="../comments/modernComment_106_A5F5D5C.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09CE9-7C0A-333B-1FFD-2209B7E4C487}"/>
              </a:ext>
            </a:extLst>
          </p:cNvPr>
          <p:cNvSpPr>
            <a:spLocks noGrp="1"/>
          </p:cNvSpPr>
          <p:nvPr>
            <p:ph type="ctrTitle"/>
          </p:nvPr>
        </p:nvSpPr>
        <p:spPr/>
        <p:txBody>
          <a:bodyPr/>
          <a:lstStyle/>
          <a:p>
            <a:pPr algn="l"/>
            <a:r>
              <a:rPr lang="en-GB"/>
              <a:t>ABS cohorts, providers and workforce analytical map. </a:t>
            </a:r>
          </a:p>
        </p:txBody>
      </p:sp>
      <p:sp>
        <p:nvSpPr>
          <p:cNvPr id="3" name="Subtitle 2">
            <a:extLst>
              <a:ext uri="{FF2B5EF4-FFF2-40B4-BE49-F238E27FC236}">
                <a16:creationId xmlns:a16="http://schemas.microsoft.com/office/drawing/2014/main" id="{E0942304-841B-BF81-FF63-E43B1A459F2D}"/>
              </a:ext>
            </a:extLst>
          </p:cNvPr>
          <p:cNvSpPr>
            <a:spLocks noGrp="1"/>
          </p:cNvSpPr>
          <p:nvPr>
            <p:ph type="subTitle" idx="1"/>
          </p:nvPr>
        </p:nvSpPr>
        <p:spPr/>
        <p:txBody>
          <a:bodyPr/>
          <a:lstStyle/>
          <a:p>
            <a:pPr algn="l"/>
            <a:r>
              <a:rPr lang="en-GB"/>
              <a:t>23/11/2023</a:t>
            </a:r>
          </a:p>
          <a:p>
            <a:pPr algn="l"/>
            <a:r>
              <a:rPr lang="en-GB"/>
              <a:t>Will Walker</a:t>
            </a:r>
          </a:p>
        </p:txBody>
      </p:sp>
    </p:spTree>
    <p:extLst>
      <p:ext uri="{BB962C8B-B14F-4D97-AF65-F5344CB8AC3E}">
        <p14:creationId xmlns:p14="http://schemas.microsoft.com/office/powerpoint/2010/main" val="26064724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31D274-4BCB-653B-E44E-8940FA23F489}"/>
              </a:ext>
            </a:extLst>
          </p:cNvPr>
          <p:cNvSpPr>
            <a:spLocks noGrp="1"/>
          </p:cNvSpPr>
          <p:nvPr>
            <p:ph type="title"/>
          </p:nvPr>
        </p:nvSpPr>
        <p:spPr>
          <a:xfrm>
            <a:off x="728932" y="356558"/>
            <a:ext cx="5752381" cy="994824"/>
          </a:xfrm>
        </p:spPr>
        <p:txBody>
          <a:bodyPr/>
          <a:lstStyle/>
          <a:p>
            <a:r>
              <a:rPr lang="en-GB"/>
              <a:t>ABS cohort model</a:t>
            </a:r>
          </a:p>
        </p:txBody>
      </p:sp>
      <p:sp>
        <p:nvSpPr>
          <p:cNvPr id="3" name="Content Placeholder 2">
            <a:extLst>
              <a:ext uri="{FF2B5EF4-FFF2-40B4-BE49-F238E27FC236}">
                <a16:creationId xmlns:a16="http://schemas.microsoft.com/office/drawing/2014/main" id="{DC1385E9-95EF-98FC-9297-8465AD42E864}"/>
              </a:ext>
            </a:extLst>
          </p:cNvPr>
          <p:cNvSpPr>
            <a:spLocks noGrp="1"/>
          </p:cNvSpPr>
          <p:nvPr>
            <p:ph idx="1"/>
          </p:nvPr>
        </p:nvSpPr>
        <p:spPr>
          <a:xfrm>
            <a:off x="383875" y="1456172"/>
            <a:ext cx="6442493" cy="4903039"/>
          </a:xfrm>
        </p:spPr>
        <p:txBody>
          <a:bodyPr>
            <a:normAutofit lnSpcReduction="10000"/>
          </a:bodyPr>
          <a:lstStyle/>
          <a:p>
            <a:r>
              <a:rPr lang="en-GB" sz="2000" dirty="0"/>
              <a:t>Micro simulation – based on the characteristics of </a:t>
            </a:r>
            <a:r>
              <a:rPr lang="en-GB" sz="2000"/>
              <a:t>the 2018/19 </a:t>
            </a:r>
            <a:r>
              <a:rPr lang="en-GB" sz="2000" dirty="0"/>
              <a:t>cohort (prior attainment), we have predicted which pathways individual learners would take under the ABS. </a:t>
            </a:r>
          </a:p>
          <a:p>
            <a:r>
              <a:rPr lang="en-GB" sz="2000" dirty="0"/>
              <a:t>This granularity means we can assess the implications of ABS by a wide range of pupil characteristic (including by geography).</a:t>
            </a:r>
          </a:p>
          <a:p>
            <a:r>
              <a:rPr lang="en-GB" sz="2000" dirty="0"/>
              <a:t>The model can adjust this cohort to fit with the predicted characteristics and size etc. of the cohort in 2033/34.</a:t>
            </a:r>
          </a:p>
          <a:p>
            <a:r>
              <a:rPr lang="en-GB" sz="2000" dirty="0"/>
              <a:t>We can use this model to predict workforce implications, coverage or provision, equalities impacts etc. according to a wide range of policy/analytical assumptions. </a:t>
            </a:r>
          </a:p>
          <a:p>
            <a:r>
              <a:rPr lang="en-GB" sz="2000" dirty="0"/>
              <a:t>This could also form the basis for generating delivery trajectories. </a:t>
            </a:r>
          </a:p>
          <a:p>
            <a:r>
              <a:rPr lang="en-GB" sz="2000" dirty="0"/>
              <a:t>The model will help to identify a “cloud of uncertainty”- many model inputs and elements of the programme are highly uncertain. </a:t>
            </a:r>
          </a:p>
          <a:p>
            <a:pPr marL="0" indent="0">
              <a:buNone/>
            </a:pPr>
            <a:endParaRPr lang="en-GB" sz="2000" dirty="0"/>
          </a:p>
        </p:txBody>
      </p:sp>
      <p:pic>
        <p:nvPicPr>
          <p:cNvPr id="5" name="Picture 4">
            <a:extLst>
              <a:ext uri="{FF2B5EF4-FFF2-40B4-BE49-F238E27FC236}">
                <a16:creationId xmlns:a16="http://schemas.microsoft.com/office/drawing/2014/main" id="{1CEA949C-11BE-79C0-CBEC-F20842B443A0}"/>
              </a:ext>
            </a:extLst>
          </p:cNvPr>
          <p:cNvPicPr>
            <a:picLocks noChangeAspect="1"/>
          </p:cNvPicPr>
          <p:nvPr/>
        </p:nvPicPr>
        <p:blipFill>
          <a:blip r:embed="rId2"/>
          <a:stretch>
            <a:fillRect/>
          </a:stretch>
        </p:blipFill>
        <p:spPr>
          <a:xfrm>
            <a:off x="7074772" y="417857"/>
            <a:ext cx="4180174" cy="6022285"/>
          </a:xfrm>
          <a:prstGeom prst="rect">
            <a:avLst/>
          </a:prstGeom>
        </p:spPr>
      </p:pic>
    </p:spTree>
    <p:extLst>
      <p:ext uri="{BB962C8B-B14F-4D97-AF65-F5344CB8AC3E}">
        <p14:creationId xmlns:p14="http://schemas.microsoft.com/office/powerpoint/2010/main" val="2335270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813538-3DE9-9DBA-0820-B1250943A3D1}"/>
              </a:ext>
            </a:extLst>
          </p:cNvPr>
          <p:cNvSpPr>
            <a:spLocks noGrp="1"/>
          </p:cNvSpPr>
          <p:nvPr>
            <p:ph type="title"/>
          </p:nvPr>
        </p:nvSpPr>
        <p:spPr>
          <a:xfrm>
            <a:off x="751936" y="500332"/>
            <a:ext cx="10515600" cy="839549"/>
          </a:xfrm>
        </p:spPr>
        <p:txBody>
          <a:bodyPr/>
          <a:lstStyle/>
          <a:p>
            <a:r>
              <a:rPr lang="en-GB"/>
              <a:t>Main assumptions and sensitivities</a:t>
            </a:r>
          </a:p>
        </p:txBody>
      </p:sp>
      <p:graphicFrame>
        <p:nvGraphicFramePr>
          <p:cNvPr id="4" name="Table 3">
            <a:extLst>
              <a:ext uri="{FF2B5EF4-FFF2-40B4-BE49-F238E27FC236}">
                <a16:creationId xmlns:a16="http://schemas.microsoft.com/office/drawing/2014/main" id="{9D1A4884-BA41-EEF3-6226-62ADFFB11D14}"/>
              </a:ext>
            </a:extLst>
          </p:cNvPr>
          <p:cNvGraphicFramePr>
            <a:graphicFrameLocks noGrp="1"/>
          </p:cNvGraphicFramePr>
          <p:nvPr>
            <p:extLst>
              <p:ext uri="{D42A27DB-BD31-4B8C-83A1-F6EECF244321}">
                <p14:modId xmlns:p14="http://schemas.microsoft.com/office/powerpoint/2010/main" val="1226642813"/>
              </p:ext>
            </p:extLst>
          </p:nvPr>
        </p:nvGraphicFramePr>
        <p:xfrm>
          <a:off x="634520" y="1503679"/>
          <a:ext cx="11321691" cy="4706636"/>
        </p:xfrm>
        <a:graphic>
          <a:graphicData uri="http://schemas.openxmlformats.org/drawingml/2006/table">
            <a:tbl>
              <a:tblPr firstRow="1" bandRow="1">
                <a:tableStyleId>{5C22544A-7EE6-4342-B048-85BDC9FD1C3A}</a:tableStyleId>
              </a:tblPr>
              <a:tblGrid>
                <a:gridCol w="3660795">
                  <a:extLst>
                    <a:ext uri="{9D8B030D-6E8A-4147-A177-3AD203B41FA5}">
                      <a16:colId xmlns:a16="http://schemas.microsoft.com/office/drawing/2014/main" val="838393168"/>
                    </a:ext>
                  </a:extLst>
                </a:gridCol>
                <a:gridCol w="4871689">
                  <a:extLst>
                    <a:ext uri="{9D8B030D-6E8A-4147-A177-3AD203B41FA5}">
                      <a16:colId xmlns:a16="http://schemas.microsoft.com/office/drawing/2014/main" val="1599880756"/>
                    </a:ext>
                  </a:extLst>
                </a:gridCol>
                <a:gridCol w="1236453">
                  <a:extLst>
                    <a:ext uri="{9D8B030D-6E8A-4147-A177-3AD203B41FA5}">
                      <a16:colId xmlns:a16="http://schemas.microsoft.com/office/drawing/2014/main" val="2091868747"/>
                    </a:ext>
                  </a:extLst>
                </a:gridCol>
                <a:gridCol w="1552754">
                  <a:extLst>
                    <a:ext uri="{9D8B030D-6E8A-4147-A177-3AD203B41FA5}">
                      <a16:colId xmlns:a16="http://schemas.microsoft.com/office/drawing/2014/main" val="2401003520"/>
                    </a:ext>
                  </a:extLst>
                </a:gridCol>
              </a:tblGrid>
              <a:tr h="480490">
                <a:tc>
                  <a:txBody>
                    <a:bodyPr/>
                    <a:lstStyle/>
                    <a:p>
                      <a:r>
                        <a:rPr lang="en-GB"/>
                        <a:t>Assumption</a:t>
                      </a:r>
                    </a:p>
                  </a:txBody>
                  <a:tcPr/>
                </a:tc>
                <a:tc>
                  <a:txBody>
                    <a:bodyPr/>
                    <a:lstStyle/>
                    <a:p>
                      <a:r>
                        <a:rPr lang="en-GB"/>
                        <a:t>Baseline values</a:t>
                      </a:r>
                    </a:p>
                  </a:txBody>
                  <a:tcPr/>
                </a:tc>
                <a:tc>
                  <a:txBody>
                    <a:bodyPr/>
                    <a:lstStyle/>
                    <a:p>
                      <a:r>
                        <a:rPr lang="en-GB"/>
                        <a:t>Certainty</a:t>
                      </a:r>
                    </a:p>
                  </a:txBody>
                  <a:tcPr/>
                </a:tc>
                <a:tc>
                  <a:txBody>
                    <a:bodyPr/>
                    <a:lstStyle/>
                    <a:p>
                      <a:r>
                        <a:rPr lang="en-GB"/>
                        <a:t>Sensitivity</a:t>
                      </a:r>
                    </a:p>
                  </a:txBody>
                  <a:tcPr/>
                </a:tc>
                <a:extLst>
                  <a:ext uri="{0D108BD9-81ED-4DB2-BD59-A6C34878D82A}">
                    <a16:rowId xmlns:a16="http://schemas.microsoft.com/office/drawing/2014/main" val="3324472377"/>
                  </a:ext>
                </a:extLst>
              </a:tr>
              <a:tr h="8293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Design of the ABS (L2.5 etc)</a:t>
                      </a:r>
                    </a:p>
                  </a:txBody>
                  <a:tcPr/>
                </a:tc>
                <a:tc>
                  <a:txBody>
                    <a:bodyPr/>
                    <a:lstStyle/>
                    <a:p>
                      <a:r>
                        <a:rPr lang="en-GB"/>
                        <a:t>Maths and English have routes: Major, Minor, L2.5, GCSE resit, Below L2. 90% GLH of A level courses.  (more on alternative routes).</a:t>
                      </a:r>
                    </a:p>
                  </a:txBody>
                  <a:tcPr/>
                </a:tc>
                <a:tc>
                  <a:txBody>
                    <a:bodyPr/>
                    <a:lstStyle/>
                    <a:p>
                      <a:r>
                        <a:rPr lang="en-GB"/>
                        <a:t>Mid</a:t>
                      </a:r>
                    </a:p>
                  </a:txBody>
                  <a:tcPr/>
                </a:tc>
                <a:tc>
                  <a:txBody>
                    <a:bodyPr/>
                    <a:lstStyle/>
                    <a:p>
                      <a:r>
                        <a:rPr lang="en-GB"/>
                        <a:t>High</a:t>
                      </a:r>
                    </a:p>
                  </a:txBody>
                  <a:tcPr/>
                </a:tc>
                <a:extLst>
                  <a:ext uri="{0D108BD9-81ED-4DB2-BD59-A6C34878D82A}">
                    <a16:rowId xmlns:a16="http://schemas.microsoft.com/office/drawing/2014/main" val="2855528827"/>
                  </a:ext>
                </a:extLst>
              </a:tr>
              <a:tr h="8293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Behavioural response of learners</a:t>
                      </a:r>
                    </a:p>
                  </a:txBody>
                  <a:tcPr/>
                </a:tc>
                <a:tc>
                  <a:txBody>
                    <a:bodyPr/>
                    <a:lstStyle/>
                    <a:p>
                      <a:r>
                        <a:rPr lang="en-GB"/>
                        <a:t>Aligned to current </a:t>
                      </a:r>
                    </a:p>
                  </a:txBody>
                  <a:tcPr/>
                </a:tc>
                <a:tc>
                  <a:txBody>
                    <a:bodyPr/>
                    <a:lstStyle/>
                    <a:p>
                      <a:r>
                        <a:rPr lang="en-GB"/>
                        <a:t>Low</a:t>
                      </a:r>
                    </a:p>
                  </a:txBody>
                  <a:tcPr/>
                </a:tc>
                <a:tc>
                  <a:txBody>
                    <a:bodyPr/>
                    <a:lstStyle/>
                    <a:p>
                      <a:r>
                        <a:rPr lang="en-GB"/>
                        <a:t>High</a:t>
                      </a:r>
                    </a:p>
                  </a:txBody>
                  <a:tcPr/>
                </a:tc>
                <a:extLst>
                  <a:ext uri="{0D108BD9-81ED-4DB2-BD59-A6C34878D82A}">
                    <a16:rowId xmlns:a16="http://schemas.microsoft.com/office/drawing/2014/main" val="3493591260"/>
                  </a:ext>
                </a:extLst>
              </a:tr>
              <a:tr h="8831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Changes in attainment between now and 2033</a:t>
                      </a:r>
                    </a:p>
                    <a:p>
                      <a:endParaRPr lang="en-GB"/>
                    </a:p>
                  </a:txBody>
                  <a:tcPr/>
                </a:tc>
                <a:tc>
                  <a:txBody>
                    <a:bodyPr/>
                    <a:lstStyle/>
                    <a:p>
                      <a:r>
                        <a:rPr lang="en-GB"/>
                        <a:t>No further progress towards 90% Math/English GCSE target. </a:t>
                      </a:r>
                    </a:p>
                  </a:txBody>
                  <a:tcPr/>
                </a:tc>
                <a:tc>
                  <a:txBody>
                    <a:bodyPr/>
                    <a:lstStyle/>
                    <a:p>
                      <a:r>
                        <a:rPr lang="en-GB"/>
                        <a:t>Low</a:t>
                      </a:r>
                    </a:p>
                  </a:txBody>
                  <a:tcPr/>
                </a:tc>
                <a:tc>
                  <a:txBody>
                    <a:bodyPr/>
                    <a:lstStyle/>
                    <a:p>
                      <a:r>
                        <a:rPr lang="en-GB"/>
                        <a:t>High</a:t>
                      </a:r>
                    </a:p>
                  </a:txBody>
                  <a:tcPr/>
                </a:tc>
                <a:extLst>
                  <a:ext uri="{0D108BD9-81ED-4DB2-BD59-A6C34878D82A}">
                    <a16:rowId xmlns:a16="http://schemas.microsoft.com/office/drawing/2014/main" val="3702256845"/>
                  </a:ext>
                </a:extLst>
              </a:tr>
              <a:tr h="6070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Demographics </a:t>
                      </a:r>
                    </a:p>
                  </a:txBody>
                  <a:tcPr/>
                </a:tc>
                <a:tc>
                  <a:txBody>
                    <a:bodyPr/>
                    <a:lstStyle/>
                    <a:p>
                      <a:r>
                        <a:rPr lang="en-GB" dirty="0"/>
                        <a:t>2033/34 cohort is 8% larger</a:t>
                      </a:r>
                    </a:p>
                  </a:txBody>
                  <a:tcPr/>
                </a:tc>
                <a:tc>
                  <a:txBody>
                    <a:bodyPr/>
                    <a:lstStyle/>
                    <a:p>
                      <a:r>
                        <a:rPr lang="en-GB"/>
                        <a:t>High</a:t>
                      </a:r>
                    </a:p>
                  </a:txBody>
                  <a:tcPr/>
                </a:tc>
                <a:tc>
                  <a:txBody>
                    <a:bodyPr/>
                    <a:lstStyle/>
                    <a:p>
                      <a:r>
                        <a:rPr lang="en-GB"/>
                        <a:t>low</a:t>
                      </a:r>
                    </a:p>
                  </a:txBody>
                  <a:tcPr/>
                </a:tc>
                <a:extLst>
                  <a:ext uri="{0D108BD9-81ED-4DB2-BD59-A6C34878D82A}">
                    <a16:rowId xmlns:a16="http://schemas.microsoft.com/office/drawing/2014/main" val="2103627704"/>
                  </a:ext>
                </a:extLst>
              </a:tr>
              <a:tr h="480490">
                <a:tc>
                  <a:txBody>
                    <a:bodyPr/>
                    <a:lstStyle/>
                    <a:p>
                      <a:r>
                        <a:rPr lang="en-GB" dirty="0"/>
                        <a:t>Workforce assumptions </a:t>
                      </a:r>
                      <a:r>
                        <a:rPr lang="en-GB" b="1" dirty="0"/>
                        <a:t>*simplified*</a:t>
                      </a:r>
                    </a:p>
                  </a:txBody>
                  <a:tcPr/>
                </a:tc>
                <a:tc>
                  <a:txBody>
                    <a:bodyPr/>
                    <a:lstStyle/>
                    <a:p>
                      <a:r>
                        <a:rPr lang="en-GB" dirty="0"/>
                        <a:t>Most ABS routes require 20% more teaching </a:t>
                      </a:r>
                    </a:p>
                  </a:txBody>
                  <a:tcPr/>
                </a:tc>
                <a:tc>
                  <a:txBody>
                    <a:bodyPr/>
                    <a:lstStyle/>
                    <a:p>
                      <a:r>
                        <a:rPr lang="en-GB"/>
                        <a:t>Mid</a:t>
                      </a:r>
                    </a:p>
                  </a:txBody>
                  <a:tcPr/>
                </a:tc>
                <a:tc>
                  <a:txBody>
                    <a:bodyPr/>
                    <a:lstStyle/>
                    <a:p>
                      <a:r>
                        <a:rPr lang="en-GB"/>
                        <a:t>High</a:t>
                      </a:r>
                    </a:p>
                  </a:txBody>
                  <a:tcPr/>
                </a:tc>
                <a:extLst>
                  <a:ext uri="{0D108BD9-81ED-4DB2-BD59-A6C34878D82A}">
                    <a16:rowId xmlns:a16="http://schemas.microsoft.com/office/drawing/2014/main" val="1328542306"/>
                  </a:ext>
                </a:extLst>
              </a:tr>
              <a:tr h="480490">
                <a:tc>
                  <a:txBody>
                    <a:bodyPr/>
                    <a:lstStyle/>
                    <a:p>
                      <a:r>
                        <a:rPr lang="en-GB"/>
                        <a:t>Apprenticeship take-up</a:t>
                      </a:r>
                    </a:p>
                  </a:txBody>
                  <a:tcPr/>
                </a:tc>
                <a:tc>
                  <a:txBody>
                    <a:bodyPr/>
                    <a:lstStyle/>
                    <a:p>
                      <a:r>
                        <a:rPr lang="en-GB"/>
                        <a:t>Apprenticeship take-up remains around 5%</a:t>
                      </a:r>
                    </a:p>
                  </a:txBody>
                  <a:tcPr/>
                </a:tc>
                <a:tc>
                  <a:txBody>
                    <a:bodyPr/>
                    <a:lstStyle/>
                    <a:p>
                      <a:r>
                        <a:rPr lang="en-GB"/>
                        <a:t>Low</a:t>
                      </a:r>
                    </a:p>
                  </a:txBody>
                  <a:tcPr/>
                </a:tc>
                <a:tc>
                  <a:txBody>
                    <a:bodyPr/>
                    <a:lstStyle/>
                    <a:p>
                      <a:r>
                        <a:rPr lang="en-GB" dirty="0"/>
                        <a:t>High</a:t>
                      </a:r>
                    </a:p>
                  </a:txBody>
                  <a:tcPr/>
                </a:tc>
                <a:extLst>
                  <a:ext uri="{0D108BD9-81ED-4DB2-BD59-A6C34878D82A}">
                    <a16:rowId xmlns:a16="http://schemas.microsoft.com/office/drawing/2014/main" val="4062897319"/>
                  </a:ext>
                </a:extLst>
              </a:tr>
            </a:tbl>
          </a:graphicData>
        </a:graphic>
      </p:graphicFrame>
    </p:spTree>
    <p:extLst>
      <p:ext uri="{BB962C8B-B14F-4D97-AF65-F5344CB8AC3E}">
        <p14:creationId xmlns:p14="http://schemas.microsoft.com/office/powerpoint/2010/main" val="2035152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8E277-CCC1-CF8D-8F6D-4B2BDF4F3EA6}"/>
              </a:ext>
            </a:extLst>
          </p:cNvPr>
          <p:cNvSpPr>
            <a:spLocks noGrp="1"/>
          </p:cNvSpPr>
          <p:nvPr>
            <p:ph type="title"/>
          </p:nvPr>
        </p:nvSpPr>
        <p:spPr>
          <a:xfrm>
            <a:off x="427367" y="104775"/>
            <a:ext cx="10515600" cy="980596"/>
          </a:xfrm>
        </p:spPr>
        <p:txBody>
          <a:bodyPr>
            <a:normAutofit/>
          </a:bodyPr>
          <a:lstStyle/>
          <a:p>
            <a:r>
              <a:rPr lang="en-GB" sz="3600" dirty="0"/>
              <a:t>Initial outputs - learners on each route</a:t>
            </a:r>
          </a:p>
        </p:txBody>
      </p:sp>
      <p:pic>
        <p:nvPicPr>
          <p:cNvPr id="7" name="Picture 6">
            <a:extLst>
              <a:ext uri="{FF2B5EF4-FFF2-40B4-BE49-F238E27FC236}">
                <a16:creationId xmlns:a16="http://schemas.microsoft.com/office/drawing/2014/main" id="{E8F2804A-A0AE-FE6B-7606-84F99717F857}"/>
              </a:ext>
            </a:extLst>
          </p:cNvPr>
          <p:cNvPicPr>
            <a:picLocks noChangeAspect="1"/>
          </p:cNvPicPr>
          <p:nvPr/>
        </p:nvPicPr>
        <p:blipFill>
          <a:blip r:embed="rId2"/>
          <a:stretch>
            <a:fillRect/>
          </a:stretch>
        </p:blipFill>
        <p:spPr>
          <a:xfrm>
            <a:off x="829933" y="3429000"/>
            <a:ext cx="9982200" cy="3324225"/>
          </a:xfrm>
          <a:prstGeom prst="rect">
            <a:avLst/>
          </a:prstGeom>
        </p:spPr>
      </p:pic>
      <p:pic>
        <p:nvPicPr>
          <p:cNvPr id="12" name="Picture 11">
            <a:extLst>
              <a:ext uri="{FF2B5EF4-FFF2-40B4-BE49-F238E27FC236}">
                <a16:creationId xmlns:a16="http://schemas.microsoft.com/office/drawing/2014/main" id="{71F01F39-C1FE-4DBF-87CE-6F76AB020A5F}"/>
              </a:ext>
            </a:extLst>
          </p:cNvPr>
          <p:cNvPicPr>
            <a:picLocks noChangeAspect="1"/>
          </p:cNvPicPr>
          <p:nvPr/>
        </p:nvPicPr>
        <p:blipFill>
          <a:blip r:embed="rId3"/>
          <a:stretch>
            <a:fillRect/>
          </a:stretch>
        </p:blipFill>
        <p:spPr>
          <a:xfrm>
            <a:off x="427367" y="1104900"/>
            <a:ext cx="10934700" cy="2324100"/>
          </a:xfrm>
          <a:prstGeom prst="rect">
            <a:avLst/>
          </a:prstGeom>
        </p:spPr>
      </p:pic>
    </p:spTree>
    <p:extLst>
      <p:ext uri="{BB962C8B-B14F-4D97-AF65-F5344CB8AC3E}">
        <p14:creationId xmlns:p14="http://schemas.microsoft.com/office/powerpoint/2010/main" val="32307540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0C40E-FDAB-7335-D6B9-36B5280E6C36}"/>
              </a:ext>
            </a:extLst>
          </p:cNvPr>
          <p:cNvSpPr>
            <a:spLocks noGrp="1"/>
          </p:cNvSpPr>
          <p:nvPr>
            <p:ph type="title"/>
          </p:nvPr>
        </p:nvSpPr>
        <p:spPr>
          <a:xfrm>
            <a:off x="585159" y="261609"/>
            <a:ext cx="10515600" cy="1176128"/>
          </a:xfrm>
        </p:spPr>
        <p:txBody>
          <a:bodyPr>
            <a:normAutofit/>
          </a:bodyPr>
          <a:lstStyle/>
          <a:p>
            <a:r>
              <a:rPr lang="en-GB" sz="3600"/>
              <a:t>The granular model means we can explore this at a variety of levels, e.g. </a:t>
            </a:r>
          </a:p>
        </p:txBody>
      </p:sp>
      <p:pic>
        <p:nvPicPr>
          <p:cNvPr id="9" name="Picture 8">
            <a:extLst>
              <a:ext uri="{FF2B5EF4-FFF2-40B4-BE49-F238E27FC236}">
                <a16:creationId xmlns:a16="http://schemas.microsoft.com/office/drawing/2014/main" id="{2E1A41D5-14C7-E96A-D9B1-51DB07F70708}"/>
              </a:ext>
            </a:extLst>
          </p:cNvPr>
          <p:cNvPicPr>
            <a:picLocks noChangeAspect="1"/>
          </p:cNvPicPr>
          <p:nvPr/>
        </p:nvPicPr>
        <p:blipFill>
          <a:blip r:embed="rId2"/>
          <a:stretch>
            <a:fillRect/>
          </a:stretch>
        </p:blipFill>
        <p:spPr>
          <a:xfrm>
            <a:off x="1311935" y="4284105"/>
            <a:ext cx="8930495" cy="2495819"/>
          </a:xfrm>
          <a:prstGeom prst="rect">
            <a:avLst/>
          </a:prstGeom>
        </p:spPr>
      </p:pic>
      <p:pic>
        <p:nvPicPr>
          <p:cNvPr id="11" name="Picture 10">
            <a:extLst>
              <a:ext uri="{FF2B5EF4-FFF2-40B4-BE49-F238E27FC236}">
                <a16:creationId xmlns:a16="http://schemas.microsoft.com/office/drawing/2014/main" id="{F69EFAD5-ED24-C7F9-E57B-60282681806A}"/>
              </a:ext>
            </a:extLst>
          </p:cNvPr>
          <p:cNvPicPr>
            <a:picLocks noChangeAspect="1"/>
          </p:cNvPicPr>
          <p:nvPr/>
        </p:nvPicPr>
        <p:blipFill>
          <a:blip r:embed="rId3"/>
          <a:stretch>
            <a:fillRect/>
          </a:stretch>
        </p:blipFill>
        <p:spPr>
          <a:xfrm>
            <a:off x="585159" y="1647873"/>
            <a:ext cx="9599762" cy="2574238"/>
          </a:xfrm>
          <a:prstGeom prst="rect">
            <a:avLst/>
          </a:prstGeom>
        </p:spPr>
      </p:pic>
    </p:spTree>
    <p:extLst>
      <p:ext uri="{BB962C8B-B14F-4D97-AF65-F5344CB8AC3E}">
        <p14:creationId xmlns:p14="http://schemas.microsoft.com/office/powerpoint/2010/main" val="2023256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A52E2-8E9E-38A9-4C1B-E17B77ECA787}"/>
              </a:ext>
            </a:extLst>
          </p:cNvPr>
          <p:cNvSpPr>
            <a:spLocks noGrp="1"/>
          </p:cNvSpPr>
          <p:nvPr>
            <p:ph type="title"/>
          </p:nvPr>
        </p:nvSpPr>
        <p:spPr/>
        <p:txBody>
          <a:bodyPr/>
          <a:lstStyle/>
          <a:p>
            <a:r>
              <a:rPr lang="en-GB" dirty="0"/>
              <a:t>Routes by L2 pass rates</a:t>
            </a:r>
          </a:p>
        </p:txBody>
      </p:sp>
      <p:pic>
        <p:nvPicPr>
          <p:cNvPr id="1026" name="Picture 2">
            <a:extLst>
              <a:ext uri="{FF2B5EF4-FFF2-40B4-BE49-F238E27FC236}">
                <a16:creationId xmlns:a16="http://schemas.microsoft.com/office/drawing/2014/main" id="{46164269-3ADD-342C-9BDA-A223DF35A8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6422" y="1958159"/>
            <a:ext cx="8639175" cy="4152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92832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330F4-538D-DAD8-E571-960A6CB4DDE8}"/>
              </a:ext>
            </a:extLst>
          </p:cNvPr>
          <p:cNvSpPr>
            <a:spLocks noGrp="1"/>
          </p:cNvSpPr>
          <p:nvPr>
            <p:ph type="title"/>
          </p:nvPr>
        </p:nvSpPr>
        <p:spPr>
          <a:xfrm>
            <a:off x="490330" y="146466"/>
            <a:ext cx="10515600" cy="748056"/>
          </a:xfrm>
        </p:spPr>
        <p:txBody>
          <a:bodyPr/>
          <a:lstStyle/>
          <a:p>
            <a:r>
              <a:rPr lang="en-GB" dirty="0"/>
              <a:t>Simplified workforce implications approach</a:t>
            </a:r>
          </a:p>
        </p:txBody>
      </p:sp>
      <p:graphicFrame>
        <p:nvGraphicFramePr>
          <p:cNvPr id="4" name="Content Placeholder 3">
            <a:extLst>
              <a:ext uri="{FF2B5EF4-FFF2-40B4-BE49-F238E27FC236}">
                <a16:creationId xmlns:a16="http://schemas.microsoft.com/office/drawing/2014/main" id="{9D2E3530-8CD3-CC9D-99A6-01C3555B9DBD}"/>
              </a:ext>
            </a:extLst>
          </p:cNvPr>
          <p:cNvGraphicFramePr>
            <a:graphicFrameLocks noGrp="1"/>
          </p:cNvGraphicFramePr>
          <p:nvPr>
            <p:ph idx="1"/>
            <p:extLst>
              <p:ext uri="{D42A27DB-BD31-4B8C-83A1-F6EECF244321}">
                <p14:modId xmlns:p14="http://schemas.microsoft.com/office/powerpoint/2010/main" val="270427235"/>
              </p:ext>
            </p:extLst>
          </p:nvPr>
        </p:nvGraphicFramePr>
        <p:xfrm>
          <a:off x="425725" y="2108091"/>
          <a:ext cx="6894445" cy="4191770"/>
        </p:xfrm>
        <a:graphic>
          <a:graphicData uri="http://schemas.openxmlformats.org/drawingml/2006/table">
            <a:tbl>
              <a:tblPr firstRow="1" bandRow="1">
                <a:tableStyleId>{5C22544A-7EE6-4342-B048-85BDC9FD1C3A}</a:tableStyleId>
              </a:tblPr>
              <a:tblGrid>
                <a:gridCol w="2677498">
                  <a:extLst>
                    <a:ext uri="{9D8B030D-6E8A-4147-A177-3AD203B41FA5}">
                      <a16:colId xmlns:a16="http://schemas.microsoft.com/office/drawing/2014/main" val="190253006"/>
                    </a:ext>
                  </a:extLst>
                </a:gridCol>
                <a:gridCol w="2835938">
                  <a:extLst>
                    <a:ext uri="{9D8B030D-6E8A-4147-A177-3AD203B41FA5}">
                      <a16:colId xmlns:a16="http://schemas.microsoft.com/office/drawing/2014/main" val="2444808048"/>
                    </a:ext>
                  </a:extLst>
                </a:gridCol>
                <a:gridCol w="1381009">
                  <a:extLst>
                    <a:ext uri="{9D8B030D-6E8A-4147-A177-3AD203B41FA5}">
                      <a16:colId xmlns:a16="http://schemas.microsoft.com/office/drawing/2014/main" val="679010981"/>
                    </a:ext>
                  </a:extLst>
                </a:gridCol>
              </a:tblGrid>
              <a:tr h="327999">
                <a:tc>
                  <a:txBody>
                    <a:bodyPr/>
                    <a:lstStyle/>
                    <a:p>
                      <a:r>
                        <a:rPr lang="en-GB" sz="1600" dirty="0"/>
                        <a:t>ABS route</a:t>
                      </a:r>
                    </a:p>
                  </a:txBody>
                  <a:tcPr/>
                </a:tc>
                <a:tc>
                  <a:txBody>
                    <a:bodyPr/>
                    <a:lstStyle/>
                    <a:p>
                      <a:r>
                        <a:rPr lang="en-GB" sz="1600" dirty="0"/>
                        <a:t>Legacy equivalent</a:t>
                      </a:r>
                    </a:p>
                  </a:txBody>
                  <a:tcPr/>
                </a:tc>
                <a:tc>
                  <a:txBody>
                    <a:bodyPr/>
                    <a:lstStyle/>
                    <a:p>
                      <a:r>
                        <a:rPr lang="en-GB" sz="1600" dirty="0"/>
                        <a:t>Relative GLH</a:t>
                      </a:r>
                    </a:p>
                  </a:txBody>
                  <a:tcPr/>
                </a:tc>
                <a:extLst>
                  <a:ext uri="{0D108BD9-81ED-4DB2-BD59-A6C34878D82A}">
                    <a16:rowId xmlns:a16="http://schemas.microsoft.com/office/drawing/2014/main" val="2644891052"/>
                  </a:ext>
                </a:extLst>
              </a:tr>
              <a:tr h="573997">
                <a:tc>
                  <a:txBody>
                    <a:bodyPr/>
                    <a:lstStyle/>
                    <a:p>
                      <a:r>
                        <a:rPr lang="en-GB" sz="1600" b="1" dirty="0"/>
                        <a:t>3 minors 3 majors </a:t>
                      </a:r>
                    </a:p>
                    <a:p>
                      <a:r>
                        <a:rPr lang="en-GB" sz="1600" dirty="0"/>
                        <a:t>(3x1 + 3x0.5)*90% = 4.05</a:t>
                      </a:r>
                    </a:p>
                  </a:txBody>
                  <a:tcPr/>
                </a:tc>
                <a:tc>
                  <a:txBody>
                    <a:bodyPr/>
                    <a:lstStyle/>
                    <a:p>
                      <a:r>
                        <a:rPr lang="en-GB" sz="1600" b="1" dirty="0"/>
                        <a:t>4 A levels </a:t>
                      </a:r>
                    </a:p>
                    <a:p>
                      <a:r>
                        <a:rPr lang="en-GB" sz="1600" dirty="0"/>
                        <a:t>4x1 = 4</a:t>
                      </a:r>
                    </a:p>
                  </a:txBody>
                  <a:tcPr/>
                </a:tc>
                <a:tc>
                  <a:txBody>
                    <a:bodyPr/>
                    <a:lstStyle/>
                    <a:p>
                      <a:r>
                        <a:rPr lang="en-GB" sz="1600" dirty="0"/>
                        <a:t>+0.05 (+1.25%)</a:t>
                      </a:r>
                    </a:p>
                  </a:txBody>
                  <a:tcPr/>
                </a:tc>
                <a:extLst>
                  <a:ext uri="{0D108BD9-81ED-4DB2-BD59-A6C34878D82A}">
                    <a16:rowId xmlns:a16="http://schemas.microsoft.com/office/drawing/2014/main" val="2597426551"/>
                  </a:ext>
                </a:extLst>
              </a:tr>
              <a:tr h="819996">
                <a:tc>
                  <a:txBody>
                    <a:bodyPr/>
                    <a:lstStyle/>
                    <a:p>
                      <a:r>
                        <a:rPr lang="en-GB" sz="1600" b="1" dirty="0"/>
                        <a:t>3 minors 2 major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t>(3x1 + 2x0.5)*90% = 3.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t>3 A level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t>3x1 = 3</a:t>
                      </a:r>
                    </a:p>
                    <a:p>
                      <a:endParaRPr lang="en-GB" sz="1600" dirty="0"/>
                    </a:p>
                  </a:txBody>
                  <a:tcPr/>
                </a:tc>
                <a:tc>
                  <a:txBody>
                    <a:bodyPr/>
                    <a:lstStyle/>
                    <a:p>
                      <a:r>
                        <a:rPr lang="en-GB" sz="1600" dirty="0"/>
                        <a:t>+0.6 (+20%)</a:t>
                      </a:r>
                    </a:p>
                  </a:txBody>
                  <a:tcPr/>
                </a:tc>
                <a:extLst>
                  <a:ext uri="{0D108BD9-81ED-4DB2-BD59-A6C34878D82A}">
                    <a16:rowId xmlns:a16="http://schemas.microsoft.com/office/drawing/2014/main" val="1052129875"/>
                  </a:ext>
                </a:extLst>
              </a:tr>
              <a:tr h="819996">
                <a:tc>
                  <a:txBody>
                    <a:bodyPr/>
                    <a:lstStyle/>
                    <a:p>
                      <a:r>
                        <a:rPr lang="en-GB" sz="1600" b="1" dirty="0"/>
                        <a:t>Vocational double major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t>(1x2 + 1x1+ 2x0.5)*90% = 3.6</a:t>
                      </a:r>
                    </a:p>
                  </a:txBody>
                  <a:tcPr/>
                </a:tc>
                <a:tc>
                  <a:txBody>
                    <a:bodyPr/>
                    <a:lstStyle/>
                    <a:p>
                      <a:r>
                        <a:rPr lang="en-GB" sz="1600" b="1" dirty="0"/>
                        <a:t>Any vocational level 3 (T levels)</a:t>
                      </a:r>
                    </a:p>
                    <a:p>
                      <a:r>
                        <a:rPr lang="en-GB" sz="1600" dirty="0"/>
                        <a:t>(???) Assume 1x3 for now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t>+0.6 (+20%)</a:t>
                      </a:r>
                    </a:p>
                    <a:p>
                      <a:endParaRPr lang="en-GB" sz="1600" dirty="0"/>
                    </a:p>
                  </a:txBody>
                  <a:tcPr/>
                </a:tc>
                <a:extLst>
                  <a:ext uri="{0D108BD9-81ED-4DB2-BD59-A6C34878D82A}">
                    <a16:rowId xmlns:a16="http://schemas.microsoft.com/office/drawing/2014/main" val="1849300285"/>
                  </a:ext>
                </a:extLst>
              </a:tr>
              <a:tr h="819996">
                <a:tc>
                  <a:txBody>
                    <a:bodyPr/>
                    <a:lstStyle/>
                    <a:p>
                      <a:r>
                        <a:rPr lang="en-GB" sz="1600" b="1" dirty="0"/>
                        <a:t>L2 ABS, Below L2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t>(3x1 + 2x0.5)*90% = 3.6</a:t>
                      </a:r>
                    </a:p>
                    <a:p>
                      <a:endParaRPr lang="en-GB" sz="1600" dirty="0"/>
                    </a:p>
                  </a:txBody>
                  <a:tcPr/>
                </a:tc>
                <a:tc>
                  <a:txBody>
                    <a:bodyPr/>
                    <a:lstStyle/>
                    <a:p>
                      <a:r>
                        <a:rPr lang="en-GB" sz="1600" b="1" dirty="0"/>
                        <a:t>GCSE’s or L2 vocational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t>(???) Assume 1x3 for now </a:t>
                      </a:r>
                    </a:p>
                    <a:p>
                      <a:endParaRPr lang="en-GB"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t>+0.6 (+20%)</a:t>
                      </a:r>
                    </a:p>
                    <a:p>
                      <a:endParaRPr lang="en-GB" sz="1600" dirty="0"/>
                    </a:p>
                  </a:txBody>
                  <a:tcPr/>
                </a:tc>
                <a:extLst>
                  <a:ext uri="{0D108BD9-81ED-4DB2-BD59-A6C34878D82A}">
                    <a16:rowId xmlns:a16="http://schemas.microsoft.com/office/drawing/2014/main" val="3298498357"/>
                  </a:ext>
                </a:extLst>
              </a:tr>
              <a:tr h="811454">
                <a:tc>
                  <a:txBody>
                    <a:bodyPr/>
                    <a:lstStyle/>
                    <a:p>
                      <a:r>
                        <a:rPr lang="en-GB" sz="1600" b="1" dirty="0"/>
                        <a:t>Apprenticeships </a:t>
                      </a:r>
                    </a:p>
                    <a:p>
                      <a:r>
                        <a:rPr lang="en-GB" sz="1600" b="0" dirty="0"/>
                        <a:t>(out of scop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t>Apprenticeship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b="0" dirty="0"/>
                        <a:t>(out of scope)</a:t>
                      </a:r>
                    </a:p>
                  </a:txBody>
                  <a:tcPr/>
                </a:tc>
                <a:tc>
                  <a:txBody>
                    <a:bodyPr/>
                    <a:lstStyle/>
                    <a:p>
                      <a:r>
                        <a:rPr lang="en-GB" sz="1600" dirty="0"/>
                        <a:t>+0%</a:t>
                      </a:r>
                    </a:p>
                  </a:txBody>
                  <a:tcPr/>
                </a:tc>
                <a:extLst>
                  <a:ext uri="{0D108BD9-81ED-4DB2-BD59-A6C34878D82A}">
                    <a16:rowId xmlns:a16="http://schemas.microsoft.com/office/drawing/2014/main" val="3020873909"/>
                  </a:ext>
                </a:extLst>
              </a:tr>
            </a:tbl>
          </a:graphicData>
        </a:graphic>
      </p:graphicFrame>
      <p:sp>
        <p:nvSpPr>
          <p:cNvPr id="5" name="TextBox 4">
            <a:extLst>
              <a:ext uri="{FF2B5EF4-FFF2-40B4-BE49-F238E27FC236}">
                <a16:creationId xmlns:a16="http://schemas.microsoft.com/office/drawing/2014/main" id="{1BF0FD27-4FAD-FBA6-52C3-38762B738057}"/>
              </a:ext>
            </a:extLst>
          </p:cNvPr>
          <p:cNvSpPr txBox="1"/>
          <p:nvPr/>
        </p:nvSpPr>
        <p:spPr>
          <a:xfrm>
            <a:off x="425725" y="955499"/>
            <a:ext cx="11489638" cy="923330"/>
          </a:xfrm>
          <a:prstGeom prst="rect">
            <a:avLst/>
          </a:prstGeom>
          <a:noFill/>
        </p:spPr>
        <p:txBody>
          <a:bodyPr wrap="square" rtlCol="0">
            <a:spAutoFit/>
          </a:bodyPr>
          <a:lstStyle/>
          <a:p>
            <a:pPr marL="285750" indent="-285750">
              <a:buFont typeface="Arial" panose="020B0604020202020204" pitchFamily="34" charset="0"/>
              <a:buChar char="•"/>
            </a:pPr>
            <a:r>
              <a:rPr lang="en-GB" dirty="0"/>
              <a:t>Simple comparison of GLH under ABS vs the legacy system to determine the relative “volume” of teaching that needs to be delivered.  </a:t>
            </a:r>
          </a:p>
          <a:p>
            <a:pPr marL="285750" indent="-285750">
              <a:buFont typeface="Arial" panose="020B0604020202020204" pitchFamily="34" charset="0"/>
              <a:buChar char="•"/>
            </a:pPr>
            <a:r>
              <a:rPr lang="en-GB" dirty="0"/>
              <a:t>How this is made up between, additional teachers, larger class, different teacher hours etc. can be worked up later. </a:t>
            </a:r>
          </a:p>
        </p:txBody>
      </p:sp>
      <p:graphicFrame>
        <p:nvGraphicFramePr>
          <p:cNvPr id="6" name="Table 5">
            <a:extLst>
              <a:ext uri="{FF2B5EF4-FFF2-40B4-BE49-F238E27FC236}">
                <a16:creationId xmlns:a16="http://schemas.microsoft.com/office/drawing/2014/main" id="{F65A4B61-4043-CC35-02F5-0C377744F30F}"/>
              </a:ext>
            </a:extLst>
          </p:cNvPr>
          <p:cNvGraphicFramePr>
            <a:graphicFrameLocks noGrp="1"/>
          </p:cNvGraphicFramePr>
          <p:nvPr>
            <p:extLst>
              <p:ext uri="{D42A27DB-BD31-4B8C-83A1-F6EECF244321}">
                <p14:modId xmlns:p14="http://schemas.microsoft.com/office/powerpoint/2010/main" val="3067827875"/>
              </p:ext>
            </p:extLst>
          </p:nvPr>
        </p:nvGraphicFramePr>
        <p:xfrm>
          <a:off x="7668039" y="2540444"/>
          <a:ext cx="4247324" cy="2995616"/>
        </p:xfrm>
        <a:graphic>
          <a:graphicData uri="http://schemas.openxmlformats.org/drawingml/2006/table">
            <a:tbl>
              <a:tblPr firstRow="1" bandRow="1">
                <a:tableStyleId>{5C22544A-7EE6-4342-B048-85BDC9FD1C3A}</a:tableStyleId>
              </a:tblPr>
              <a:tblGrid>
                <a:gridCol w="2123662">
                  <a:extLst>
                    <a:ext uri="{9D8B030D-6E8A-4147-A177-3AD203B41FA5}">
                      <a16:colId xmlns:a16="http://schemas.microsoft.com/office/drawing/2014/main" val="3889047818"/>
                    </a:ext>
                  </a:extLst>
                </a:gridCol>
                <a:gridCol w="2123662">
                  <a:extLst>
                    <a:ext uri="{9D8B030D-6E8A-4147-A177-3AD203B41FA5}">
                      <a16:colId xmlns:a16="http://schemas.microsoft.com/office/drawing/2014/main" val="242192006"/>
                    </a:ext>
                  </a:extLst>
                </a:gridCol>
              </a:tblGrid>
              <a:tr h="374452">
                <a:tc>
                  <a:txBody>
                    <a:bodyPr/>
                    <a:lstStyle/>
                    <a:p>
                      <a:r>
                        <a:rPr lang="en-GB" dirty="0"/>
                        <a:t>Maths/English route</a:t>
                      </a:r>
                    </a:p>
                  </a:txBody>
                  <a:tcPr/>
                </a:tc>
                <a:tc>
                  <a:txBody>
                    <a:bodyPr/>
                    <a:lstStyle/>
                    <a:p>
                      <a:r>
                        <a:rPr lang="en-GB" dirty="0"/>
                        <a:t>Relative GLH</a:t>
                      </a:r>
                    </a:p>
                  </a:txBody>
                  <a:tcPr/>
                </a:tc>
                <a:extLst>
                  <a:ext uri="{0D108BD9-81ED-4DB2-BD59-A6C34878D82A}">
                    <a16:rowId xmlns:a16="http://schemas.microsoft.com/office/drawing/2014/main" val="1988241775"/>
                  </a:ext>
                </a:extLst>
              </a:tr>
              <a:tr h="374452">
                <a:tc>
                  <a:txBody>
                    <a:bodyPr/>
                    <a:lstStyle/>
                    <a:p>
                      <a:r>
                        <a:rPr lang="en-GB" dirty="0"/>
                        <a:t>A level</a:t>
                      </a:r>
                    </a:p>
                  </a:txBody>
                  <a:tcPr/>
                </a:tc>
                <a:tc>
                  <a:txBody>
                    <a:bodyPr/>
                    <a:lstStyle/>
                    <a:p>
                      <a:r>
                        <a:rPr lang="en-GB" dirty="0"/>
                        <a:t>100%</a:t>
                      </a:r>
                    </a:p>
                  </a:txBody>
                  <a:tcPr/>
                </a:tc>
                <a:extLst>
                  <a:ext uri="{0D108BD9-81ED-4DB2-BD59-A6C34878D82A}">
                    <a16:rowId xmlns:a16="http://schemas.microsoft.com/office/drawing/2014/main" val="3138497451"/>
                  </a:ext>
                </a:extLst>
              </a:tr>
              <a:tr h="374452">
                <a:tc>
                  <a:txBody>
                    <a:bodyPr/>
                    <a:lstStyle/>
                    <a:p>
                      <a:r>
                        <a:rPr lang="en-GB" dirty="0"/>
                        <a:t>Old AS level</a:t>
                      </a:r>
                    </a:p>
                  </a:txBody>
                  <a:tcPr/>
                </a:tc>
                <a:tc>
                  <a:txBody>
                    <a:bodyPr/>
                    <a:lstStyle/>
                    <a:p>
                      <a:r>
                        <a:rPr lang="en-GB" dirty="0"/>
                        <a:t>50%</a:t>
                      </a:r>
                    </a:p>
                  </a:txBody>
                  <a:tcPr/>
                </a:tc>
                <a:extLst>
                  <a:ext uri="{0D108BD9-81ED-4DB2-BD59-A6C34878D82A}">
                    <a16:rowId xmlns:a16="http://schemas.microsoft.com/office/drawing/2014/main" val="463397133"/>
                  </a:ext>
                </a:extLst>
              </a:tr>
              <a:tr h="374452">
                <a:tc>
                  <a:txBody>
                    <a:bodyPr/>
                    <a:lstStyle/>
                    <a:p>
                      <a:r>
                        <a:rPr lang="en-GB" dirty="0"/>
                        <a:t>Major</a:t>
                      </a:r>
                    </a:p>
                  </a:txBody>
                  <a:tcPr/>
                </a:tc>
                <a:tc>
                  <a:txBody>
                    <a:bodyPr/>
                    <a:lstStyle/>
                    <a:p>
                      <a:r>
                        <a:rPr lang="en-GB" dirty="0"/>
                        <a:t>90%</a:t>
                      </a:r>
                    </a:p>
                  </a:txBody>
                  <a:tcPr/>
                </a:tc>
                <a:extLst>
                  <a:ext uri="{0D108BD9-81ED-4DB2-BD59-A6C34878D82A}">
                    <a16:rowId xmlns:a16="http://schemas.microsoft.com/office/drawing/2014/main" val="1093494090"/>
                  </a:ext>
                </a:extLst>
              </a:tr>
              <a:tr h="374452">
                <a:tc>
                  <a:txBody>
                    <a:bodyPr/>
                    <a:lstStyle/>
                    <a:p>
                      <a:r>
                        <a:rPr lang="en-GB" dirty="0"/>
                        <a:t>Minor</a:t>
                      </a:r>
                    </a:p>
                  </a:txBody>
                  <a:tcPr/>
                </a:tc>
                <a:tc>
                  <a:txBody>
                    <a:bodyPr/>
                    <a:lstStyle/>
                    <a:p>
                      <a:r>
                        <a:rPr lang="en-GB" dirty="0"/>
                        <a:t>45%</a:t>
                      </a:r>
                    </a:p>
                  </a:txBody>
                  <a:tcPr/>
                </a:tc>
                <a:extLst>
                  <a:ext uri="{0D108BD9-81ED-4DB2-BD59-A6C34878D82A}">
                    <a16:rowId xmlns:a16="http://schemas.microsoft.com/office/drawing/2014/main" val="4006688611"/>
                  </a:ext>
                </a:extLst>
              </a:tr>
              <a:tr h="374452">
                <a:tc>
                  <a:txBody>
                    <a:bodyPr/>
                    <a:lstStyle/>
                    <a:p>
                      <a:r>
                        <a:rPr lang="en-GB" dirty="0"/>
                        <a:t>L2.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45%</a:t>
                      </a:r>
                    </a:p>
                  </a:txBody>
                  <a:tcPr/>
                </a:tc>
                <a:extLst>
                  <a:ext uri="{0D108BD9-81ED-4DB2-BD59-A6C34878D82A}">
                    <a16:rowId xmlns:a16="http://schemas.microsoft.com/office/drawing/2014/main" val="2806312831"/>
                  </a:ext>
                </a:extLst>
              </a:tr>
              <a:tr h="374452">
                <a:tc>
                  <a:txBody>
                    <a:bodyPr/>
                    <a:lstStyle/>
                    <a:p>
                      <a:r>
                        <a:rPr lang="en-GB" dirty="0"/>
                        <a:t>GCS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45%</a:t>
                      </a:r>
                    </a:p>
                  </a:txBody>
                  <a:tcPr/>
                </a:tc>
                <a:extLst>
                  <a:ext uri="{0D108BD9-81ED-4DB2-BD59-A6C34878D82A}">
                    <a16:rowId xmlns:a16="http://schemas.microsoft.com/office/drawing/2014/main" val="3806742666"/>
                  </a:ext>
                </a:extLst>
              </a:tr>
              <a:tr h="374452">
                <a:tc>
                  <a:txBody>
                    <a:bodyPr/>
                    <a:lstStyle/>
                    <a:p>
                      <a:r>
                        <a:rPr lang="en-GB" dirty="0"/>
                        <a:t>Subject of lif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45%</a:t>
                      </a:r>
                    </a:p>
                  </a:txBody>
                  <a:tcPr/>
                </a:tc>
                <a:extLst>
                  <a:ext uri="{0D108BD9-81ED-4DB2-BD59-A6C34878D82A}">
                    <a16:rowId xmlns:a16="http://schemas.microsoft.com/office/drawing/2014/main" val="4134909583"/>
                  </a:ext>
                </a:extLst>
              </a:tr>
            </a:tbl>
          </a:graphicData>
        </a:graphic>
      </p:graphicFrame>
    </p:spTree>
    <p:extLst>
      <p:ext uri="{BB962C8B-B14F-4D97-AF65-F5344CB8AC3E}">
        <p14:creationId xmlns:p14="http://schemas.microsoft.com/office/powerpoint/2010/main" val="18640379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CD9A0EF-E950-9EDC-0C2C-8F57B5B27C39}"/>
              </a:ext>
            </a:extLst>
          </p:cNvPr>
          <p:cNvPicPr>
            <a:picLocks noChangeAspect="1"/>
          </p:cNvPicPr>
          <p:nvPr/>
        </p:nvPicPr>
        <p:blipFill>
          <a:blip r:embed="rId2"/>
          <a:stretch>
            <a:fillRect/>
          </a:stretch>
        </p:blipFill>
        <p:spPr>
          <a:xfrm>
            <a:off x="5116249" y="253448"/>
            <a:ext cx="6026595" cy="6351104"/>
          </a:xfrm>
          <a:prstGeom prst="rect">
            <a:avLst/>
          </a:prstGeom>
        </p:spPr>
      </p:pic>
      <p:pic>
        <p:nvPicPr>
          <p:cNvPr id="7" name="Picture 6">
            <a:extLst>
              <a:ext uri="{FF2B5EF4-FFF2-40B4-BE49-F238E27FC236}">
                <a16:creationId xmlns:a16="http://schemas.microsoft.com/office/drawing/2014/main" id="{CA8BBC5C-FDFF-A87E-363D-F4E1CCB9E923}"/>
              </a:ext>
            </a:extLst>
          </p:cNvPr>
          <p:cNvPicPr>
            <a:picLocks noChangeAspect="1"/>
          </p:cNvPicPr>
          <p:nvPr/>
        </p:nvPicPr>
        <p:blipFill>
          <a:blip r:embed="rId3"/>
          <a:stretch>
            <a:fillRect/>
          </a:stretch>
        </p:blipFill>
        <p:spPr>
          <a:xfrm>
            <a:off x="718371" y="887091"/>
            <a:ext cx="3463842" cy="5882807"/>
          </a:xfrm>
          <a:prstGeom prst="rect">
            <a:avLst/>
          </a:prstGeom>
        </p:spPr>
      </p:pic>
      <p:sp>
        <p:nvSpPr>
          <p:cNvPr id="8" name="Title 1">
            <a:extLst>
              <a:ext uri="{FF2B5EF4-FFF2-40B4-BE49-F238E27FC236}">
                <a16:creationId xmlns:a16="http://schemas.microsoft.com/office/drawing/2014/main" id="{577884E7-CBE7-C82D-905A-BBF8574A25EC}"/>
              </a:ext>
            </a:extLst>
          </p:cNvPr>
          <p:cNvSpPr>
            <a:spLocks noGrp="1"/>
          </p:cNvSpPr>
          <p:nvPr>
            <p:ph type="title"/>
          </p:nvPr>
        </p:nvSpPr>
        <p:spPr>
          <a:xfrm>
            <a:off x="395147" y="324469"/>
            <a:ext cx="3787066" cy="380599"/>
          </a:xfrm>
        </p:spPr>
        <p:txBody>
          <a:bodyPr>
            <a:normAutofit fontScale="90000"/>
          </a:bodyPr>
          <a:lstStyle/>
          <a:p>
            <a:r>
              <a:rPr lang="en-GB" sz="2800" dirty="0"/>
              <a:t>Existing qualification GLH</a:t>
            </a:r>
          </a:p>
        </p:txBody>
      </p:sp>
    </p:spTree>
    <p:extLst>
      <p:ext uri="{BB962C8B-B14F-4D97-AF65-F5344CB8AC3E}">
        <p14:creationId xmlns:p14="http://schemas.microsoft.com/office/powerpoint/2010/main" val="4897895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C3DDD-48B1-63AB-8528-8612BF450CDF}"/>
              </a:ext>
            </a:extLst>
          </p:cNvPr>
          <p:cNvSpPr>
            <a:spLocks noGrp="1"/>
          </p:cNvSpPr>
          <p:nvPr>
            <p:ph type="title"/>
          </p:nvPr>
        </p:nvSpPr>
        <p:spPr>
          <a:xfrm>
            <a:off x="429827" y="341473"/>
            <a:ext cx="10515600" cy="1325563"/>
          </a:xfrm>
        </p:spPr>
        <p:txBody>
          <a:bodyPr/>
          <a:lstStyle/>
          <a:p>
            <a:r>
              <a:rPr lang="en-GB" dirty="0"/>
              <a:t>Additional workforce outputs [</a:t>
            </a:r>
            <a:r>
              <a:rPr lang="en-GB" b="1" dirty="0"/>
              <a:t>DRAFT</a:t>
            </a:r>
            <a:r>
              <a:rPr lang="en-GB" dirty="0"/>
              <a:t>]</a:t>
            </a:r>
          </a:p>
        </p:txBody>
      </p:sp>
      <p:sp>
        <p:nvSpPr>
          <p:cNvPr id="9" name="TextBox 8">
            <a:extLst>
              <a:ext uri="{FF2B5EF4-FFF2-40B4-BE49-F238E27FC236}">
                <a16:creationId xmlns:a16="http://schemas.microsoft.com/office/drawing/2014/main" id="{80118955-4615-2062-040E-9F4F8EFF73E8}"/>
              </a:ext>
            </a:extLst>
          </p:cNvPr>
          <p:cNvSpPr txBox="1"/>
          <p:nvPr/>
        </p:nvSpPr>
        <p:spPr>
          <a:xfrm>
            <a:off x="362502" y="1807247"/>
            <a:ext cx="8168939" cy="923330"/>
          </a:xfrm>
          <a:prstGeom prst="rect">
            <a:avLst/>
          </a:prstGeom>
          <a:noFill/>
        </p:spPr>
        <p:txBody>
          <a:bodyPr wrap="square">
            <a:spAutoFit/>
          </a:bodyPr>
          <a:lstStyle/>
          <a:p>
            <a:pPr marL="285750" indent="-285750">
              <a:buFont typeface="Arial" panose="020B0604020202020204" pitchFamily="34" charset="0"/>
              <a:buChar char="•"/>
            </a:pPr>
            <a:r>
              <a:rPr lang="en-GB" dirty="0"/>
              <a:t>Non-English and maths teaching will remain mostly stable</a:t>
            </a:r>
          </a:p>
          <a:p>
            <a:pPr marL="285750" indent="-285750">
              <a:buFont typeface="Arial" panose="020B0604020202020204" pitchFamily="34" charset="0"/>
              <a:buChar char="•"/>
            </a:pPr>
            <a:r>
              <a:rPr lang="en-GB" dirty="0"/>
              <a:t>The ~18% rise in teaching is almost entirely comprised of maths and English</a:t>
            </a:r>
          </a:p>
          <a:p>
            <a:pPr marL="285750" indent="-285750">
              <a:buFont typeface="Arial" panose="020B0604020202020204" pitchFamily="34" charset="0"/>
              <a:buChar char="•"/>
            </a:pPr>
            <a:r>
              <a:rPr lang="en-GB" dirty="0"/>
              <a:t>This twice as much English provision as the baseline, and 73% more maths. </a:t>
            </a:r>
          </a:p>
        </p:txBody>
      </p:sp>
      <p:pic>
        <p:nvPicPr>
          <p:cNvPr id="11" name="Picture 10">
            <a:extLst>
              <a:ext uri="{FF2B5EF4-FFF2-40B4-BE49-F238E27FC236}">
                <a16:creationId xmlns:a16="http://schemas.microsoft.com/office/drawing/2014/main" id="{C62A301B-EF3D-B3D6-D159-20CD79EB3CC0}"/>
              </a:ext>
            </a:extLst>
          </p:cNvPr>
          <p:cNvPicPr>
            <a:picLocks noChangeAspect="1"/>
          </p:cNvPicPr>
          <p:nvPr/>
        </p:nvPicPr>
        <p:blipFill>
          <a:blip r:embed="rId2"/>
          <a:stretch>
            <a:fillRect/>
          </a:stretch>
        </p:blipFill>
        <p:spPr>
          <a:xfrm>
            <a:off x="362502" y="4206081"/>
            <a:ext cx="10885503" cy="1298073"/>
          </a:xfrm>
          <a:prstGeom prst="rect">
            <a:avLst/>
          </a:prstGeom>
        </p:spPr>
      </p:pic>
      <p:pic>
        <p:nvPicPr>
          <p:cNvPr id="13" name="Picture 12">
            <a:extLst>
              <a:ext uri="{FF2B5EF4-FFF2-40B4-BE49-F238E27FC236}">
                <a16:creationId xmlns:a16="http://schemas.microsoft.com/office/drawing/2014/main" id="{90A9A0B7-D366-A97C-70ED-83AFAA85ED4D}"/>
              </a:ext>
            </a:extLst>
          </p:cNvPr>
          <p:cNvPicPr>
            <a:picLocks noChangeAspect="1"/>
          </p:cNvPicPr>
          <p:nvPr/>
        </p:nvPicPr>
        <p:blipFill>
          <a:blip r:embed="rId3"/>
          <a:stretch>
            <a:fillRect/>
          </a:stretch>
        </p:blipFill>
        <p:spPr>
          <a:xfrm>
            <a:off x="362502" y="2880333"/>
            <a:ext cx="11418164" cy="562258"/>
          </a:xfrm>
          <a:prstGeom prst="rect">
            <a:avLst/>
          </a:prstGeom>
        </p:spPr>
      </p:pic>
      <p:sp>
        <p:nvSpPr>
          <p:cNvPr id="14" name="TextBox 13">
            <a:extLst>
              <a:ext uri="{FF2B5EF4-FFF2-40B4-BE49-F238E27FC236}">
                <a16:creationId xmlns:a16="http://schemas.microsoft.com/office/drawing/2014/main" id="{47E457F6-3018-E4B4-E940-A2868248557C}"/>
              </a:ext>
            </a:extLst>
          </p:cNvPr>
          <p:cNvSpPr txBox="1"/>
          <p:nvPr/>
        </p:nvSpPr>
        <p:spPr>
          <a:xfrm>
            <a:off x="362502" y="3696538"/>
            <a:ext cx="8781497" cy="369332"/>
          </a:xfrm>
          <a:prstGeom prst="rect">
            <a:avLst/>
          </a:prstGeom>
          <a:noFill/>
        </p:spPr>
        <p:txBody>
          <a:bodyPr wrap="square">
            <a:spAutoFit/>
          </a:bodyPr>
          <a:lstStyle/>
          <a:p>
            <a:r>
              <a:rPr lang="en-GB" dirty="0"/>
              <a:t>Since this is a micro simulation, we can look at these outputs at a wide variety of levels….</a:t>
            </a:r>
          </a:p>
        </p:txBody>
      </p:sp>
    </p:spTree>
    <p:extLst>
      <p:ext uri="{BB962C8B-B14F-4D97-AF65-F5344CB8AC3E}">
        <p14:creationId xmlns:p14="http://schemas.microsoft.com/office/powerpoint/2010/main" val="37922507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86334-27CD-A611-2520-B282D38E8794}"/>
              </a:ext>
            </a:extLst>
          </p:cNvPr>
          <p:cNvSpPr>
            <a:spLocks noGrp="1"/>
          </p:cNvSpPr>
          <p:nvPr>
            <p:ph type="title"/>
          </p:nvPr>
        </p:nvSpPr>
        <p:spPr/>
        <p:txBody>
          <a:bodyPr/>
          <a:lstStyle/>
          <a:p>
            <a:r>
              <a:rPr lang="en-GB"/>
              <a:t>Scenarios [??]</a:t>
            </a:r>
          </a:p>
        </p:txBody>
      </p:sp>
      <p:sp>
        <p:nvSpPr>
          <p:cNvPr id="4" name="TextBox 3">
            <a:extLst>
              <a:ext uri="{FF2B5EF4-FFF2-40B4-BE49-F238E27FC236}">
                <a16:creationId xmlns:a16="http://schemas.microsoft.com/office/drawing/2014/main" id="{DD07694D-3AA9-0369-179C-9B2CBA8C8EA8}"/>
              </a:ext>
            </a:extLst>
          </p:cNvPr>
          <p:cNvSpPr txBox="1"/>
          <p:nvPr/>
        </p:nvSpPr>
        <p:spPr>
          <a:xfrm>
            <a:off x="838200" y="1434517"/>
            <a:ext cx="10629550" cy="923330"/>
          </a:xfrm>
          <a:prstGeom prst="rect">
            <a:avLst/>
          </a:prstGeom>
          <a:noFill/>
        </p:spPr>
        <p:txBody>
          <a:bodyPr wrap="square" rtlCol="0">
            <a:spAutoFit/>
          </a:bodyPr>
          <a:lstStyle/>
          <a:p>
            <a:r>
              <a:rPr lang="en-GB"/>
              <a:t>Uncertainties: Demographics, attainment, </a:t>
            </a:r>
            <a:r>
              <a:rPr lang="en-GB" b="1"/>
              <a:t>learners' choices </a:t>
            </a:r>
            <a:r>
              <a:rPr lang="en-GB"/>
              <a:t>and</a:t>
            </a:r>
            <a:r>
              <a:rPr lang="en-GB" b="1"/>
              <a:t> </a:t>
            </a:r>
            <a:r>
              <a:rPr lang="en-GB"/>
              <a:t>scope of policy (partition of L2/L3 compulsory subjects). Workforce is the main cost/delivery consideration of ABS. We will pool assumptions together which might lead to the largest and smallest impacts.   </a:t>
            </a:r>
          </a:p>
        </p:txBody>
      </p:sp>
      <p:sp>
        <p:nvSpPr>
          <p:cNvPr id="5" name="TextBox 4">
            <a:extLst>
              <a:ext uri="{FF2B5EF4-FFF2-40B4-BE49-F238E27FC236}">
                <a16:creationId xmlns:a16="http://schemas.microsoft.com/office/drawing/2014/main" id="{58658E9D-E3E6-04A7-27A2-0F73A84A61C9}"/>
              </a:ext>
            </a:extLst>
          </p:cNvPr>
          <p:cNvSpPr txBox="1"/>
          <p:nvPr/>
        </p:nvSpPr>
        <p:spPr>
          <a:xfrm>
            <a:off x="437146" y="2485272"/>
            <a:ext cx="2776056" cy="3693319"/>
          </a:xfrm>
          <a:prstGeom prst="rect">
            <a:avLst/>
          </a:prstGeom>
          <a:noFill/>
        </p:spPr>
        <p:txBody>
          <a:bodyPr wrap="square" rtlCol="0">
            <a:spAutoFit/>
          </a:bodyPr>
          <a:lstStyle/>
          <a:p>
            <a:r>
              <a:rPr lang="en-GB" b="1"/>
              <a:t>Baseline:</a:t>
            </a:r>
          </a:p>
          <a:p>
            <a:pPr marL="285750" indent="-285750">
              <a:buFont typeface="Arial" panose="020B0604020202020204" pitchFamily="34" charset="0"/>
              <a:buChar char="•"/>
            </a:pPr>
            <a:r>
              <a:rPr lang="en-GB"/>
              <a:t>Attainment remains at current levels</a:t>
            </a:r>
          </a:p>
          <a:p>
            <a:pPr marL="285750" indent="-285750">
              <a:buFont typeface="Arial" panose="020B0604020202020204" pitchFamily="34" charset="0"/>
              <a:buChar char="•"/>
            </a:pPr>
            <a:r>
              <a:rPr lang="en-GB"/>
              <a:t>Take up of English/maths majors closely aligns to current L3  and recent AS uptake. (leaners do the bare minimum)</a:t>
            </a:r>
          </a:p>
          <a:p>
            <a:pPr marL="285750" indent="-285750">
              <a:buFont typeface="Arial" panose="020B0604020202020204" pitchFamily="34" charset="0"/>
              <a:buChar char="•"/>
            </a:pPr>
            <a:r>
              <a:rPr lang="en-GB"/>
              <a:t>Population aligns to national pupil forecast.</a:t>
            </a:r>
          </a:p>
          <a:p>
            <a:pPr marL="285750" indent="-285750">
              <a:buFont typeface="Arial" panose="020B0604020202020204" pitchFamily="34" charset="0"/>
              <a:buChar char="•"/>
            </a:pPr>
            <a:r>
              <a:rPr lang="en-GB"/>
              <a:t>Apprenticeship take up remains at 5%   </a:t>
            </a:r>
          </a:p>
        </p:txBody>
      </p:sp>
      <p:sp>
        <p:nvSpPr>
          <p:cNvPr id="6" name="TextBox 5">
            <a:extLst>
              <a:ext uri="{FF2B5EF4-FFF2-40B4-BE49-F238E27FC236}">
                <a16:creationId xmlns:a16="http://schemas.microsoft.com/office/drawing/2014/main" id="{7BFB0702-E188-8667-1B00-8F51ECBA80FA}"/>
              </a:ext>
            </a:extLst>
          </p:cNvPr>
          <p:cNvSpPr txBox="1"/>
          <p:nvPr/>
        </p:nvSpPr>
        <p:spPr>
          <a:xfrm>
            <a:off x="3213202" y="2473208"/>
            <a:ext cx="2882798" cy="3970318"/>
          </a:xfrm>
          <a:prstGeom prst="rect">
            <a:avLst/>
          </a:prstGeom>
          <a:noFill/>
        </p:spPr>
        <p:txBody>
          <a:bodyPr wrap="square" rtlCol="0">
            <a:spAutoFit/>
          </a:bodyPr>
          <a:lstStyle/>
          <a:p>
            <a:r>
              <a:rPr lang="en-GB" b="1"/>
              <a:t>Scenario x:</a:t>
            </a:r>
          </a:p>
          <a:p>
            <a:pPr marL="285750" indent="-285750">
              <a:buFont typeface="Arial" panose="020B0604020202020204" pitchFamily="34" charset="0"/>
              <a:buChar char="•"/>
            </a:pPr>
            <a:r>
              <a:rPr lang="en-GB"/>
              <a:t>Attainment, (L2 English/maths passes) progresses slightly (25%) towards 2030 target. </a:t>
            </a:r>
          </a:p>
          <a:p>
            <a:pPr marL="285750" indent="-285750">
              <a:buFont typeface="Arial" panose="020B0604020202020204" pitchFamily="34" charset="0"/>
              <a:buChar char="•"/>
            </a:pPr>
            <a:r>
              <a:rPr lang="en-GB"/>
              <a:t>Some additional take up of majors in English and maths, among eligible learners. </a:t>
            </a:r>
          </a:p>
          <a:p>
            <a:pPr marL="285750" indent="-285750">
              <a:buFont typeface="Arial" panose="020B0604020202020204" pitchFamily="34" charset="0"/>
              <a:buChar char="•"/>
            </a:pPr>
            <a:r>
              <a:rPr lang="en-GB"/>
              <a:t>Population aligns to national pupil forecast.</a:t>
            </a:r>
          </a:p>
          <a:p>
            <a:pPr marL="285750" indent="-285750">
              <a:buFont typeface="Arial" panose="020B0604020202020204" pitchFamily="34" charset="0"/>
              <a:buChar char="•"/>
            </a:pPr>
            <a:r>
              <a:rPr lang="en-GB"/>
              <a:t>Apprenticeship take up rises to 10%  ??</a:t>
            </a:r>
          </a:p>
          <a:p>
            <a:endParaRPr lang="en-GB"/>
          </a:p>
        </p:txBody>
      </p:sp>
      <p:sp>
        <p:nvSpPr>
          <p:cNvPr id="7" name="TextBox 6">
            <a:extLst>
              <a:ext uri="{FF2B5EF4-FFF2-40B4-BE49-F238E27FC236}">
                <a16:creationId xmlns:a16="http://schemas.microsoft.com/office/drawing/2014/main" id="{B8EA2F0F-B9FE-CF12-B898-2C0B25C9D637}"/>
              </a:ext>
            </a:extLst>
          </p:cNvPr>
          <p:cNvSpPr txBox="1"/>
          <p:nvPr/>
        </p:nvSpPr>
        <p:spPr>
          <a:xfrm>
            <a:off x="6096000" y="2473209"/>
            <a:ext cx="2709643" cy="4247317"/>
          </a:xfrm>
          <a:prstGeom prst="rect">
            <a:avLst/>
          </a:prstGeom>
          <a:noFill/>
        </p:spPr>
        <p:txBody>
          <a:bodyPr wrap="square" rtlCol="0">
            <a:spAutoFit/>
          </a:bodyPr>
          <a:lstStyle/>
          <a:p>
            <a:r>
              <a:rPr lang="en-GB" b="1"/>
              <a:t>Scenario x:</a:t>
            </a:r>
          </a:p>
          <a:p>
            <a:pPr marL="285750" indent="-285750">
              <a:buFont typeface="Arial" panose="020B0604020202020204" pitchFamily="34" charset="0"/>
              <a:buChar char="•"/>
            </a:pPr>
            <a:r>
              <a:rPr lang="en-GB"/>
              <a:t>Attainment, (L2 English/maths passes) progresses (50%) towards 2030 target. </a:t>
            </a:r>
          </a:p>
          <a:p>
            <a:pPr marL="285750" indent="-285750">
              <a:buFont typeface="Arial" panose="020B0604020202020204" pitchFamily="34" charset="0"/>
              <a:buChar char="•"/>
            </a:pPr>
            <a:r>
              <a:rPr lang="en-GB"/>
              <a:t>Moderate take up of majors in English and maths, among eligible learners. </a:t>
            </a:r>
          </a:p>
          <a:p>
            <a:pPr marL="285750" indent="-285750">
              <a:buFont typeface="Arial" panose="020B0604020202020204" pitchFamily="34" charset="0"/>
              <a:buChar char="•"/>
            </a:pPr>
            <a:r>
              <a:rPr lang="en-GB"/>
              <a:t>Population aligns to national pupil forecast.</a:t>
            </a:r>
          </a:p>
          <a:p>
            <a:pPr marL="285750" indent="-285750">
              <a:buFont typeface="Arial" panose="020B0604020202020204" pitchFamily="34" charset="0"/>
              <a:buChar char="•"/>
            </a:pPr>
            <a:r>
              <a:rPr lang="en-GB"/>
              <a:t>Apprenticeship take up rises to 20% ??</a:t>
            </a:r>
          </a:p>
          <a:p>
            <a:pPr marL="285750" indent="-285750">
              <a:buFont typeface="Arial" panose="020B0604020202020204" pitchFamily="34" charset="0"/>
              <a:buChar char="•"/>
            </a:pPr>
            <a:r>
              <a:rPr lang="en-GB"/>
              <a:t> </a:t>
            </a:r>
          </a:p>
          <a:p>
            <a:pPr marL="285750" indent="-285750">
              <a:buFont typeface="Arial" panose="020B0604020202020204" pitchFamily="34" charset="0"/>
              <a:buChar char="•"/>
            </a:pPr>
            <a:endParaRPr lang="en-GB"/>
          </a:p>
        </p:txBody>
      </p:sp>
      <p:sp>
        <p:nvSpPr>
          <p:cNvPr id="8" name="TextBox 7">
            <a:extLst>
              <a:ext uri="{FF2B5EF4-FFF2-40B4-BE49-F238E27FC236}">
                <a16:creationId xmlns:a16="http://schemas.microsoft.com/office/drawing/2014/main" id="{058C7115-3E70-FE62-CEAA-966BC79947F3}"/>
              </a:ext>
            </a:extLst>
          </p:cNvPr>
          <p:cNvSpPr txBox="1"/>
          <p:nvPr/>
        </p:nvSpPr>
        <p:spPr>
          <a:xfrm>
            <a:off x="8912386" y="2473209"/>
            <a:ext cx="2950255" cy="3416320"/>
          </a:xfrm>
          <a:prstGeom prst="rect">
            <a:avLst/>
          </a:prstGeom>
          <a:noFill/>
        </p:spPr>
        <p:txBody>
          <a:bodyPr wrap="square" rtlCol="0">
            <a:spAutoFit/>
          </a:bodyPr>
          <a:lstStyle/>
          <a:p>
            <a:r>
              <a:rPr lang="en-GB" b="1"/>
              <a:t>Scenario x:</a:t>
            </a:r>
          </a:p>
          <a:p>
            <a:pPr marL="285750" indent="-285750">
              <a:buFont typeface="Arial" panose="020B0604020202020204" pitchFamily="34" charset="0"/>
              <a:buChar char="•"/>
            </a:pPr>
            <a:r>
              <a:rPr lang="en-GB"/>
              <a:t>Attainment, (L2 English/maths passes) reaches 2030 target. </a:t>
            </a:r>
          </a:p>
          <a:p>
            <a:pPr marL="285750" indent="-285750">
              <a:buFont typeface="Arial" panose="020B0604020202020204" pitchFamily="34" charset="0"/>
              <a:buChar char="•"/>
            </a:pPr>
            <a:r>
              <a:rPr lang="en-GB"/>
              <a:t>Relative enthusiasm for majors in English and maths, across span of eligibility.</a:t>
            </a:r>
          </a:p>
          <a:p>
            <a:pPr marL="285750" indent="-285750">
              <a:buFont typeface="Arial" panose="020B0604020202020204" pitchFamily="34" charset="0"/>
              <a:buChar char="•"/>
            </a:pPr>
            <a:r>
              <a:rPr lang="en-GB"/>
              <a:t>Population aligns to national pupil forecast.</a:t>
            </a:r>
          </a:p>
          <a:p>
            <a:pPr marL="285750" indent="-285750">
              <a:buFont typeface="Arial" panose="020B0604020202020204" pitchFamily="34" charset="0"/>
              <a:buChar char="•"/>
            </a:pPr>
            <a:r>
              <a:rPr lang="en-GB"/>
              <a:t>Apprenticeship take up rises to 40% ??</a:t>
            </a:r>
          </a:p>
        </p:txBody>
      </p:sp>
    </p:spTree>
    <p:extLst>
      <p:ext uri="{BB962C8B-B14F-4D97-AF65-F5344CB8AC3E}">
        <p14:creationId xmlns:p14="http://schemas.microsoft.com/office/powerpoint/2010/main" val="34615001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530F5-E79F-B085-2FB8-93EE25B8421E}"/>
              </a:ext>
            </a:extLst>
          </p:cNvPr>
          <p:cNvSpPr>
            <a:spLocks noGrp="1"/>
          </p:cNvSpPr>
          <p:nvPr>
            <p:ph type="title"/>
          </p:nvPr>
        </p:nvSpPr>
        <p:spPr/>
        <p:txBody>
          <a:bodyPr/>
          <a:lstStyle/>
          <a:p>
            <a:r>
              <a:rPr lang="en-GB" dirty="0"/>
              <a:t>Progress so far</a:t>
            </a:r>
          </a:p>
        </p:txBody>
      </p:sp>
      <p:sp>
        <p:nvSpPr>
          <p:cNvPr id="3" name="Content Placeholder 2">
            <a:extLst>
              <a:ext uri="{FF2B5EF4-FFF2-40B4-BE49-F238E27FC236}">
                <a16:creationId xmlns:a16="http://schemas.microsoft.com/office/drawing/2014/main" id="{E52168BF-8D4B-E89E-1F73-7A249AF2894E}"/>
              </a:ext>
            </a:extLst>
          </p:cNvPr>
          <p:cNvSpPr>
            <a:spLocks noGrp="1"/>
          </p:cNvSpPr>
          <p:nvPr>
            <p:ph idx="1"/>
          </p:nvPr>
        </p:nvSpPr>
        <p:spPr/>
        <p:txBody>
          <a:bodyPr>
            <a:normAutofit lnSpcReduction="10000"/>
          </a:bodyPr>
          <a:lstStyle/>
          <a:p>
            <a:r>
              <a:rPr lang="en-GB" dirty="0"/>
              <a:t>Individual level model</a:t>
            </a:r>
          </a:p>
          <a:p>
            <a:r>
              <a:rPr lang="en-GB" dirty="0"/>
              <a:t>Adjusted for demographic and attainment changes</a:t>
            </a:r>
          </a:p>
          <a:p>
            <a:r>
              <a:rPr lang="en-GB" dirty="0"/>
              <a:t>What maths and </a:t>
            </a:r>
            <a:r>
              <a:rPr lang="en-GB" dirty="0" err="1"/>
              <a:t>eng</a:t>
            </a:r>
            <a:r>
              <a:rPr lang="en-GB" dirty="0"/>
              <a:t> will everyone do, which ABS path will they do, what type of school will they attend? And where are they? (plus characteristics) </a:t>
            </a:r>
          </a:p>
          <a:p>
            <a:r>
              <a:rPr lang="en-GB" dirty="0"/>
              <a:t>We’ve worked out the relative volume of teaching for the paths taken by pupils</a:t>
            </a:r>
          </a:p>
          <a:p>
            <a:r>
              <a:rPr lang="en-GB" dirty="0"/>
              <a:t>How much capacity at each type of school by LA, or how much provision at existing school for each strand (if everyone attends the same institutions)</a:t>
            </a:r>
          </a:p>
        </p:txBody>
      </p:sp>
    </p:spTree>
    <p:extLst>
      <p:ext uri="{BB962C8B-B14F-4D97-AF65-F5344CB8AC3E}">
        <p14:creationId xmlns:p14="http://schemas.microsoft.com/office/powerpoint/2010/main" val="29571436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7DE688-4674-1909-F481-4A78135E65F9}"/>
              </a:ext>
            </a:extLst>
          </p:cNvPr>
          <p:cNvSpPr>
            <a:spLocks noGrp="1"/>
          </p:cNvSpPr>
          <p:nvPr>
            <p:ph type="title"/>
          </p:nvPr>
        </p:nvSpPr>
        <p:spPr>
          <a:xfrm>
            <a:off x="128631" y="78331"/>
            <a:ext cx="3305951" cy="810008"/>
          </a:xfrm>
        </p:spPr>
        <p:txBody>
          <a:bodyPr>
            <a:normAutofit/>
          </a:bodyPr>
          <a:lstStyle/>
          <a:p>
            <a:r>
              <a:rPr lang="en-GB" sz="4000"/>
              <a:t>Analytical map </a:t>
            </a:r>
          </a:p>
        </p:txBody>
      </p:sp>
      <p:sp>
        <p:nvSpPr>
          <p:cNvPr id="4" name="Rectangle 3">
            <a:extLst>
              <a:ext uri="{FF2B5EF4-FFF2-40B4-BE49-F238E27FC236}">
                <a16:creationId xmlns:a16="http://schemas.microsoft.com/office/drawing/2014/main" id="{4C8F1710-D6A2-A804-63D7-0F7D40027055}"/>
              </a:ext>
            </a:extLst>
          </p:cNvPr>
          <p:cNvSpPr/>
          <p:nvPr/>
        </p:nvSpPr>
        <p:spPr>
          <a:xfrm>
            <a:off x="2663327" y="3240435"/>
            <a:ext cx="1990676" cy="81092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100" b="1"/>
              <a:t>1. Cohort analysis:</a:t>
            </a:r>
          </a:p>
          <a:p>
            <a:pPr marL="171450" indent="-171450">
              <a:buFont typeface="Arial" panose="020B0604020202020204" pitchFamily="34" charset="0"/>
              <a:buChar char="•"/>
            </a:pPr>
            <a:r>
              <a:rPr lang="en-GB" sz="1100"/>
              <a:t>How many learners will take each route?</a:t>
            </a:r>
          </a:p>
          <a:p>
            <a:pPr marL="171450" indent="-171450">
              <a:buFont typeface="Arial" panose="020B0604020202020204" pitchFamily="34" charset="0"/>
              <a:buChar char="•"/>
            </a:pPr>
            <a:r>
              <a:rPr lang="en-GB" sz="1100"/>
              <a:t>Where are they?</a:t>
            </a:r>
          </a:p>
        </p:txBody>
      </p:sp>
      <p:sp>
        <p:nvSpPr>
          <p:cNvPr id="5" name="Rectangle 4">
            <a:extLst>
              <a:ext uri="{FF2B5EF4-FFF2-40B4-BE49-F238E27FC236}">
                <a16:creationId xmlns:a16="http://schemas.microsoft.com/office/drawing/2014/main" id="{290929A1-B17F-57FF-DA2E-25B78AD974B2}"/>
              </a:ext>
            </a:extLst>
          </p:cNvPr>
          <p:cNvSpPr/>
          <p:nvPr/>
        </p:nvSpPr>
        <p:spPr>
          <a:xfrm>
            <a:off x="4994823" y="2276261"/>
            <a:ext cx="2837991" cy="136963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100" b="1"/>
              <a:t>2. Provider analysis:</a:t>
            </a:r>
          </a:p>
          <a:p>
            <a:pPr marL="171450" indent="-171450">
              <a:buFont typeface="Arial" panose="020B0604020202020204" pitchFamily="34" charset="0"/>
              <a:buChar char="•"/>
            </a:pPr>
            <a:r>
              <a:rPr lang="en-GB" sz="1100"/>
              <a:t>How many KS5 providers are there that do not teach Eng/Maths?</a:t>
            </a:r>
          </a:p>
          <a:p>
            <a:pPr marL="171450" indent="-171450">
              <a:buFont typeface="Arial" panose="020B0604020202020204" pitchFamily="34" charset="0"/>
              <a:buChar char="•"/>
            </a:pPr>
            <a:r>
              <a:rPr lang="en-GB" sz="1100"/>
              <a:t>Where is the nearest centre that does?</a:t>
            </a:r>
          </a:p>
          <a:p>
            <a:pPr marL="171450" indent="-171450">
              <a:buFont typeface="Arial" panose="020B0604020202020204" pitchFamily="34" charset="0"/>
              <a:buChar char="•"/>
            </a:pPr>
            <a:r>
              <a:rPr lang="en-GB" sz="1100"/>
              <a:t>Where/how much might provider capability need to be extended?</a:t>
            </a:r>
          </a:p>
          <a:p>
            <a:pPr marL="171450" indent="-171450">
              <a:buFont typeface="Arial" panose="020B0604020202020204" pitchFamily="34" charset="0"/>
              <a:buChar char="•"/>
            </a:pPr>
            <a:r>
              <a:rPr lang="en-GB" sz="1100"/>
              <a:t>How much multisite learning will be required?</a:t>
            </a:r>
          </a:p>
        </p:txBody>
      </p:sp>
      <p:sp>
        <p:nvSpPr>
          <p:cNvPr id="6" name="Rectangle 5">
            <a:extLst>
              <a:ext uri="{FF2B5EF4-FFF2-40B4-BE49-F238E27FC236}">
                <a16:creationId xmlns:a16="http://schemas.microsoft.com/office/drawing/2014/main" id="{65CDDF0C-442A-BC4C-E624-221A91787B88}"/>
              </a:ext>
            </a:extLst>
          </p:cNvPr>
          <p:cNvSpPr/>
          <p:nvPr/>
        </p:nvSpPr>
        <p:spPr>
          <a:xfrm>
            <a:off x="5111254" y="4184253"/>
            <a:ext cx="2588561" cy="94233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100" b="1"/>
              <a:t>3. Workforce analysis:</a:t>
            </a:r>
          </a:p>
          <a:p>
            <a:pPr marL="171450" indent="-171450">
              <a:buFont typeface="Arial" panose="020B0604020202020204" pitchFamily="34" charset="0"/>
              <a:buChar char="•"/>
            </a:pPr>
            <a:r>
              <a:rPr lang="en-GB" sz="1100"/>
              <a:t>How many additional teachers will be needed?</a:t>
            </a:r>
          </a:p>
          <a:p>
            <a:pPr marL="171450" indent="-171450">
              <a:buFont typeface="Arial" panose="020B0604020202020204" pitchFamily="34" charset="0"/>
              <a:buChar char="•"/>
            </a:pPr>
            <a:r>
              <a:rPr lang="en-GB" sz="1100"/>
              <a:t>Which specialisms do they need?</a:t>
            </a:r>
          </a:p>
          <a:p>
            <a:pPr marL="171450" indent="-171450">
              <a:buFont typeface="Arial" panose="020B0604020202020204" pitchFamily="34" charset="0"/>
              <a:buChar char="•"/>
            </a:pPr>
            <a:r>
              <a:rPr lang="en-GB" sz="1100"/>
              <a:t>Where will they be needed?</a:t>
            </a:r>
          </a:p>
        </p:txBody>
      </p:sp>
      <p:sp>
        <p:nvSpPr>
          <p:cNvPr id="7" name="Rectangle 6">
            <a:extLst>
              <a:ext uri="{FF2B5EF4-FFF2-40B4-BE49-F238E27FC236}">
                <a16:creationId xmlns:a16="http://schemas.microsoft.com/office/drawing/2014/main" id="{AC078095-AD2C-8D22-B3F1-8BB63FB941D3}"/>
              </a:ext>
            </a:extLst>
          </p:cNvPr>
          <p:cNvSpPr/>
          <p:nvPr/>
        </p:nvSpPr>
        <p:spPr>
          <a:xfrm>
            <a:off x="9243301" y="4051358"/>
            <a:ext cx="2320050" cy="104872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100" b="1"/>
              <a:t>4. Cost:</a:t>
            </a:r>
          </a:p>
          <a:p>
            <a:pPr marL="171450" indent="-171450">
              <a:buFont typeface="Arial" panose="020B0604020202020204" pitchFamily="34" charset="0"/>
              <a:buChar char="•"/>
            </a:pPr>
            <a:r>
              <a:rPr lang="en-GB" sz="1100"/>
              <a:t>What will delivery of this  additional provision cost? Staff? Capital? Diversified tech collages etc. </a:t>
            </a:r>
          </a:p>
        </p:txBody>
      </p:sp>
      <p:sp>
        <p:nvSpPr>
          <p:cNvPr id="8" name="Rectangle 7">
            <a:extLst>
              <a:ext uri="{FF2B5EF4-FFF2-40B4-BE49-F238E27FC236}">
                <a16:creationId xmlns:a16="http://schemas.microsoft.com/office/drawing/2014/main" id="{2D46DE8B-118D-68C1-AB5B-04BCBBB7F298}"/>
              </a:ext>
            </a:extLst>
          </p:cNvPr>
          <p:cNvSpPr/>
          <p:nvPr/>
        </p:nvSpPr>
        <p:spPr>
          <a:xfrm>
            <a:off x="9136010" y="1739172"/>
            <a:ext cx="2516326" cy="89428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100" b="1"/>
              <a:t>5. Delivery trajectories:</a:t>
            </a:r>
          </a:p>
          <a:p>
            <a:pPr marL="171450" indent="-171450">
              <a:buFont typeface="Arial" panose="020B0604020202020204" pitchFamily="34" charset="0"/>
              <a:buChar char="•"/>
            </a:pPr>
            <a:r>
              <a:rPr lang="en-GB" sz="1100"/>
              <a:t>How will the expansion of capacity/workforce delivery progress towards full roll out? </a:t>
            </a:r>
          </a:p>
        </p:txBody>
      </p:sp>
      <p:sp>
        <p:nvSpPr>
          <p:cNvPr id="9" name="Rectangle 8">
            <a:extLst>
              <a:ext uri="{FF2B5EF4-FFF2-40B4-BE49-F238E27FC236}">
                <a16:creationId xmlns:a16="http://schemas.microsoft.com/office/drawing/2014/main" id="{C9FA2DCC-945E-7503-4FB9-69E3581D71A5}"/>
              </a:ext>
            </a:extLst>
          </p:cNvPr>
          <p:cNvSpPr/>
          <p:nvPr/>
        </p:nvSpPr>
        <p:spPr>
          <a:xfrm>
            <a:off x="411791" y="2157029"/>
            <a:ext cx="2082382" cy="1071518"/>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100"/>
              <a:t>Policy design elements:</a:t>
            </a:r>
          </a:p>
          <a:p>
            <a:pPr marL="171450" indent="-171450">
              <a:buFont typeface="Arial" panose="020B0604020202020204" pitchFamily="34" charset="0"/>
              <a:buChar char="•"/>
            </a:pPr>
            <a:r>
              <a:rPr lang="en-GB" sz="1100"/>
              <a:t>Shape, nature and scope of compulsory Eng/Maths to 18 options </a:t>
            </a:r>
          </a:p>
          <a:p>
            <a:pPr marL="171450" indent="-171450">
              <a:buFont typeface="Arial" panose="020B0604020202020204" pitchFamily="34" charset="0"/>
              <a:buChar char="•"/>
            </a:pPr>
            <a:r>
              <a:rPr lang="en-GB" sz="1100"/>
              <a:t>Incentives to study or not study specific subjects</a:t>
            </a:r>
          </a:p>
        </p:txBody>
      </p:sp>
      <p:sp>
        <p:nvSpPr>
          <p:cNvPr id="10" name="Rectangle 9">
            <a:extLst>
              <a:ext uri="{FF2B5EF4-FFF2-40B4-BE49-F238E27FC236}">
                <a16:creationId xmlns:a16="http://schemas.microsoft.com/office/drawing/2014/main" id="{F9C8872F-9D9A-A547-E7F6-8622E1654A08}"/>
              </a:ext>
            </a:extLst>
          </p:cNvPr>
          <p:cNvSpPr/>
          <p:nvPr/>
        </p:nvSpPr>
        <p:spPr>
          <a:xfrm>
            <a:off x="352102" y="4342297"/>
            <a:ext cx="2311225" cy="1515578"/>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100"/>
              <a:t>General uncertain inputs:</a:t>
            </a:r>
          </a:p>
          <a:p>
            <a:pPr marL="171450" indent="-171450">
              <a:buFont typeface="Arial" panose="020B0604020202020204" pitchFamily="34" charset="0"/>
              <a:buChar char="•"/>
            </a:pPr>
            <a:r>
              <a:rPr lang="en-GB" sz="1100"/>
              <a:t>Demographics</a:t>
            </a:r>
          </a:p>
          <a:p>
            <a:pPr marL="171450" indent="-171450">
              <a:buFont typeface="Arial" panose="020B0604020202020204" pitchFamily="34" charset="0"/>
              <a:buChar char="•"/>
            </a:pPr>
            <a:r>
              <a:rPr lang="en-GB" sz="1100"/>
              <a:t>Future attainment (eligibility for different tracks)</a:t>
            </a:r>
          </a:p>
          <a:p>
            <a:pPr marL="171450" indent="-171450">
              <a:buFont typeface="Arial" panose="020B0604020202020204" pitchFamily="34" charset="0"/>
              <a:buChar char="•"/>
            </a:pPr>
            <a:r>
              <a:rPr lang="en-GB" sz="1100"/>
              <a:t>Behavioural response of learners (choosing a pathway) </a:t>
            </a:r>
          </a:p>
          <a:p>
            <a:pPr marL="171450" indent="-171450">
              <a:buFont typeface="Arial" panose="020B0604020202020204" pitchFamily="34" charset="0"/>
              <a:buChar char="•"/>
            </a:pPr>
            <a:r>
              <a:rPr lang="en-GB" sz="1100"/>
              <a:t>Behaviour of HE and employers (on value placed on pathways)</a:t>
            </a:r>
          </a:p>
        </p:txBody>
      </p:sp>
      <p:sp>
        <p:nvSpPr>
          <p:cNvPr id="11" name="Rectangle 10">
            <a:extLst>
              <a:ext uri="{FF2B5EF4-FFF2-40B4-BE49-F238E27FC236}">
                <a16:creationId xmlns:a16="http://schemas.microsoft.com/office/drawing/2014/main" id="{B224C80A-C5B6-CDE5-D446-2734B51A1846}"/>
              </a:ext>
            </a:extLst>
          </p:cNvPr>
          <p:cNvSpPr/>
          <p:nvPr/>
        </p:nvSpPr>
        <p:spPr>
          <a:xfrm>
            <a:off x="3109649" y="5628197"/>
            <a:ext cx="2276674" cy="942334"/>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100"/>
              <a:t>Current expected teacher labour force over time (assumption?)</a:t>
            </a:r>
          </a:p>
          <a:p>
            <a:pPr marL="171450" indent="-171450">
              <a:buFont typeface="Arial" panose="020B0604020202020204" pitchFamily="34" charset="0"/>
              <a:buChar char="•"/>
            </a:pPr>
            <a:r>
              <a:rPr lang="en-GB" sz="1100"/>
              <a:t>Required teacher specialism between L2/L3</a:t>
            </a:r>
          </a:p>
          <a:p>
            <a:pPr marL="171450" indent="-171450">
              <a:buFont typeface="Arial" panose="020B0604020202020204" pitchFamily="34" charset="0"/>
              <a:buChar char="•"/>
            </a:pPr>
            <a:r>
              <a:rPr lang="en-GB" sz="1100"/>
              <a:t>GTH under ABS</a:t>
            </a:r>
          </a:p>
        </p:txBody>
      </p:sp>
      <p:cxnSp>
        <p:nvCxnSpPr>
          <p:cNvPr id="13" name="Connector: Elbow 12">
            <a:extLst>
              <a:ext uri="{FF2B5EF4-FFF2-40B4-BE49-F238E27FC236}">
                <a16:creationId xmlns:a16="http://schemas.microsoft.com/office/drawing/2014/main" id="{D64FC78E-B6E8-9BE2-0335-E36F73A4DCF4}"/>
              </a:ext>
            </a:extLst>
          </p:cNvPr>
          <p:cNvCxnSpPr>
            <a:cxnSpLocks/>
            <a:stCxn id="9" idx="3"/>
            <a:endCxn id="4" idx="0"/>
          </p:cNvCxnSpPr>
          <p:nvPr/>
        </p:nvCxnSpPr>
        <p:spPr>
          <a:xfrm>
            <a:off x="2494173" y="2692788"/>
            <a:ext cx="1164492" cy="547647"/>
          </a:xfrm>
          <a:prstGeom prst="bentConnector2">
            <a:avLst/>
          </a:prstGeom>
          <a:ln>
            <a:tailEnd type="triangle"/>
          </a:ln>
        </p:spPr>
        <p:style>
          <a:lnRef idx="3">
            <a:schemeClr val="dk1"/>
          </a:lnRef>
          <a:fillRef idx="0">
            <a:schemeClr val="dk1"/>
          </a:fillRef>
          <a:effectRef idx="2">
            <a:schemeClr val="dk1"/>
          </a:effectRef>
          <a:fontRef idx="minor">
            <a:schemeClr val="tx1"/>
          </a:fontRef>
        </p:style>
      </p:cxnSp>
      <p:cxnSp>
        <p:nvCxnSpPr>
          <p:cNvPr id="17" name="Connector: Elbow 16">
            <a:extLst>
              <a:ext uri="{FF2B5EF4-FFF2-40B4-BE49-F238E27FC236}">
                <a16:creationId xmlns:a16="http://schemas.microsoft.com/office/drawing/2014/main" id="{368EEDAF-B3D9-0713-4FA2-CB3181463D95}"/>
              </a:ext>
            </a:extLst>
          </p:cNvPr>
          <p:cNvCxnSpPr>
            <a:cxnSpLocks/>
            <a:stCxn id="10" idx="3"/>
            <a:endCxn id="4" idx="2"/>
          </p:cNvCxnSpPr>
          <p:nvPr/>
        </p:nvCxnSpPr>
        <p:spPr>
          <a:xfrm flipV="1">
            <a:off x="2663327" y="4051358"/>
            <a:ext cx="995338" cy="1048728"/>
          </a:xfrm>
          <a:prstGeom prst="bentConnector2">
            <a:avLst/>
          </a:prstGeom>
          <a:ln>
            <a:tailEnd type="triangle"/>
          </a:ln>
        </p:spPr>
        <p:style>
          <a:lnRef idx="3">
            <a:schemeClr val="dk1"/>
          </a:lnRef>
          <a:fillRef idx="0">
            <a:schemeClr val="dk1"/>
          </a:fillRef>
          <a:effectRef idx="2">
            <a:schemeClr val="dk1"/>
          </a:effectRef>
          <a:fontRef idx="minor">
            <a:schemeClr val="tx1"/>
          </a:fontRef>
        </p:style>
      </p:cxnSp>
      <p:cxnSp>
        <p:nvCxnSpPr>
          <p:cNvPr id="20" name="Connector: Elbow 19">
            <a:extLst>
              <a:ext uri="{FF2B5EF4-FFF2-40B4-BE49-F238E27FC236}">
                <a16:creationId xmlns:a16="http://schemas.microsoft.com/office/drawing/2014/main" id="{96536C8E-0CE2-D03A-C743-7AE8027C20D0}"/>
              </a:ext>
            </a:extLst>
          </p:cNvPr>
          <p:cNvCxnSpPr>
            <a:cxnSpLocks/>
            <a:stCxn id="11" idx="3"/>
            <a:endCxn id="6" idx="2"/>
          </p:cNvCxnSpPr>
          <p:nvPr/>
        </p:nvCxnSpPr>
        <p:spPr>
          <a:xfrm flipV="1">
            <a:off x="5386323" y="5126587"/>
            <a:ext cx="1019212" cy="972777"/>
          </a:xfrm>
          <a:prstGeom prst="bentConnector2">
            <a:avLst/>
          </a:prstGeom>
          <a:ln>
            <a:tailEnd type="triangle"/>
          </a:ln>
        </p:spPr>
        <p:style>
          <a:lnRef idx="3">
            <a:schemeClr val="dk1"/>
          </a:lnRef>
          <a:fillRef idx="0">
            <a:schemeClr val="dk1"/>
          </a:fillRef>
          <a:effectRef idx="2">
            <a:schemeClr val="dk1"/>
          </a:effectRef>
          <a:fontRef idx="minor">
            <a:schemeClr val="tx1"/>
          </a:fontRef>
        </p:style>
      </p:cxnSp>
      <p:cxnSp>
        <p:nvCxnSpPr>
          <p:cNvPr id="23" name="Connector: Elbow 22">
            <a:extLst>
              <a:ext uri="{FF2B5EF4-FFF2-40B4-BE49-F238E27FC236}">
                <a16:creationId xmlns:a16="http://schemas.microsoft.com/office/drawing/2014/main" id="{E4289326-64C2-13FB-F6AE-EF9286F193E3}"/>
              </a:ext>
            </a:extLst>
          </p:cNvPr>
          <p:cNvCxnSpPr>
            <a:cxnSpLocks/>
            <a:stCxn id="4" idx="3"/>
            <a:endCxn id="5" idx="1"/>
          </p:cNvCxnSpPr>
          <p:nvPr/>
        </p:nvCxnSpPr>
        <p:spPr>
          <a:xfrm flipV="1">
            <a:off x="4654003" y="2961079"/>
            <a:ext cx="340820" cy="684818"/>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cxnSp>
        <p:nvCxnSpPr>
          <p:cNvPr id="27" name="Connector: Elbow 26">
            <a:extLst>
              <a:ext uri="{FF2B5EF4-FFF2-40B4-BE49-F238E27FC236}">
                <a16:creationId xmlns:a16="http://schemas.microsoft.com/office/drawing/2014/main" id="{54F1A7C2-B4A6-1BD7-060C-A509A60DB413}"/>
              </a:ext>
            </a:extLst>
          </p:cNvPr>
          <p:cNvCxnSpPr>
            <a:cxnSpLocks/>
            <a:stCxn id="4" idx="3"/>
            <a:endCxn id="6" idx="1"/>
          </p:cNvCxnSpPr>
          <p:nvPr/>
        </p:nvCxnSpPr>
        <p:spPr>
          <a:xfrm>
            <a:off x="4654003" y="3645897"/>
            <a:ext cx="457251" cy="1009523"/>
          </a:xfrm>
          <a:prstGeom prst="bentConnector3">
            <a:avLst>
              <a:gd name="adj1" fmla="val 38992"/>
            </a:avLst>
          </a:prstGeom>
          <a:ln>
            <a:tailEnd type="triangle"/>
          </a:ln>
        </p:spPr>
        <p:style>
          <a:lnRef idx="3">
            <a:schemeClr val="dk1"/>
          </a:lnRef>
          <a:fillRef idx="0">
            <a:schemeClr val="dk1"/>
          </a:fillRef>
          <a:effectRef idx="2">
            <a:schemeClr val="dk1"/>
          </a:effectRef>
          <a:fontRef idx="minor">
            <a:schemeClr val="tx1"/>
          </a:fontRef>
        </p:style>
      </p:cxnSp>
      <p:cxnSp>
        <p:nvCxnSpPr>
          <p:cNvPr id="32" name="Connector: Elbow 31">
            <a:extLst>
              <a:ext uri="{FF2B5EF4-FFF2-40B4-BE49-F238E27FC236}">
                <a16:creationId xmlns:a16="http://schemas.microsoft.com/office/drawing/2014/main" id="{0AD98264-42B9-5F69-67D8-6025A8BECBEC}"/>
              </a:ext>
            </a:extLst>
          </p:cNvPr>
          <p:cNvCxnSpPr>
            <a:cxnSpLocks/>
            <a:stCxn id="5" idx="3"/>
            <a:endCxn id="37" idx="1"/>
          </p:cNvCxnSpPr>
          <p:nvPr/>
        </p:nvCxnSpPr>
        <p:spPr>
          <a:xfrm>
            <a:off x="7832814" y="2961079"/>
            <a:ext cx="711507" cy="330502"/>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sp>
        <p:nvSpPr>
          <p:cNvPr id="37" name="Rectangle 36">
            <a:extLst>
              <a:ext uri="{FF2B5EF4-FFF2-40B4-BE49-F238E27FC236}">
                <a16:creationId xmlns:a16="http://schemas.microsoft.com/office/drawing/2014/main" id="{12CAB00D-0888-E28F-E0C3-C70B4321EA50}"/>
              </a:ext>
            </a:extLst>
          </p:cNvPr>
          <p:cNvSpPr/>
          <p:nvPr/>
        </p:nvSpPr>
        <p:spPr>
          <a:xfrm>
            <a:off x="8544321" y="3265316"/>
            <a:ext cx="50480" cy="525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a:p>
        </p:txBody>
      </p:sp>
      <p:cxnSp>
        <p:nvCxnSpPr>
          <p:cNvPr id="40" name="Connector: Elbow 39">
            <a:extLst>
              <a:ext uri="{FF2B5EF4-FFF2-40B4-BE49-F238E27FC236}">
                <a16:creationId xmlns:a16="http://schemas.microsoft.com/office/drawing/2014/main" id="{EA8FD327-F0EF-457D-F2DF-74DA6A070C24}"/>
              </a:ext>
            </a:extLst>
          </p:cNvPr>
          <p:cNvCxnSpPr>
            <a:cxnSpLocks/>
            <a:stCxn id="6" idx="3"/>
            <a:endCxn id="37" idx="1"/>
          </p:cNvCxnSpPr>
          <p:nvPr/>
        </p:nvCxnSpPr>
        <p:spPr>
          <a:xfrm flipV="1">
            <a:off x="7699815" y="3291581"/>
            <a:ext cx="844506" cy="1363839"/>
          </a:xfrm>
          <a:prstGeom prst="bentConnector3">
            <a:avLst>
              <a:gd name="adj1" fmla="val 58940"/>
            </a:avLst>
          </a:prstGeom>
          <a:ln>
            <a:tailEnd type="triangle"/>
          </a:ln>
        </p:spPr>
        <p:style>
          <a:lnRef idx="3">
            <a:schemeClr val="dk1"/>
          </a:lnRef>
          <a:fillRef idx="0">
            <a:schemeClr val="dk1"/>
          </a:fillRef>
          <a:effectRef idx="2">
            <a:schemeClr val="dk1"/>
          </a:effectRef>
          <a:fontRef idx="minor">
            <a:schemeClr val="tx1"/>
          </a:fontRef>
        </p:style>
      </p:cxnSp>
      <p:cxnSp>
        <p:nvCxnSpPr>
          <p:cNvPr id="48" name="Connector: Elbow 47">
            <a:extLst>
              <a:ext uri="{FF2B5EF4-FFF2-40B4-BE49-F238E27FC236}">
                <a16:creationId xmlns:a16="http://schemas.microsoft.com/office/drawing/2014/main" id="{9EC97012-9338-11DE-C8C4-BF90861BEB71}"/>
              </a:ext>
            </a:extLst>
          </p:cNvPr>
          <p:cNvCxnSpPr>
            <a:cxnSpLocks/>
            <a:stCxn id="37" idx="3"/>
            <a:endCxn id="8" idx="1"/>
          </p:cNvCxnSpPr>
          <p:nvPr/>
        </p:nvCxnSpPr>
        <p:spPr>
          <a:xfrm flipV="1">
            <a:off x="8594801" y="2186316"/>
            <a:ext cx="541209" cy="1105265"/>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cxnSp>
        <p:nvCxnSpPr>
          <p:cNvPr id="51" name="Connector: Elbow 50">
            <a:extLst>
              <a:ext uri="{FF2B5EF4-FFF2-40B4-BE49-F238E27FC236}">
                <a16:creationId xmlns:a16="http://schemas.microsoft.com/office/drawing/2014/main" id="{0909D04D-C814-4124-7424-F52393F7B25E}"/>
              </a:ext>
            </a:extLst>
          </p:cNvPr>
          <p:cNvCxnSpPr>
            <a:cxnSpLocks/>
            <a:stCxn id="37" idx="2"/>
            <a:endCxn id="7" idx="1"/>
          </p:cNvCxnSpPr>
          <p:nvPr/>
        </p:nvCxnSpPr>
        <p:spPr>
          <a:xfrm rot="16200000" flipH="1">
            <a:off x="8277493" y="3609913"/>
            <a:ext cx="1257877" cy="673740"/>
          </a:xfrm>
          <a:prstGeom prst="bentConnector2">
            <a:avLst/>
          </a:prstGeom>
          <a:ln>
            <a:tailEnd type="triangle"/>
          </a:ln>
        </p:spPr>
        <p:style>
          <a:lnRef idx="3">
            <a:schemeClr val="dk1"/>
          </a:lnRef>
          <a:fillRef idx="0">
            <a:schemeClr val="dk1"/>
          </a:fillRef>
          <a:effectRef idx="2">
            <a:schemeClr val="dk1"/>
          </a:effectRef>
          <a:fontRef idx="minor">
            <a:schemeClr val="tx1"/>
          </a:fontRef>
        </p:style>
      </p:cxnSp>
      <p:sp>
        <p:nvSpPr>
          <p:cNvPr id="62" name="Rectangle 61">
            <a:extLst>
              <a:ext uri="{FF2B5EF4-FFF2-40B4-BE49-F238E27FC236}">
                <a16:creationId xmlns:a16="http://schemas.microsoft.com/office/drawing/2014/main" id="{1D69369E-9AB0-77D9-08BD-94534C61ABB1}"/>
              </a:ext>
            </a:extLst>
          </p:cNvPr>
          <p:cNvSpPr/>
          <p:nvPr/>
        </p:nvSpPr>
        <p:spPr>
          <a:xfrm>
            <a:off x="9137353" y="144320"/>
            <a:ext cx="1468937" cy="301926"/>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b="1"/>
              <a:t>Assumptions/inputs </a:t>
            </a:r>
          </a:p>
        </p:txBody>
      </p:sp>
      <p:sp>
        <p:nvSpPr>
          <p:cNvPr id="65" name="Rectangle 64">
            <a:extLst>
              <a:ext uri="{FF2B5EF4-FFF2-40B4-BE49-F238E27FC236}">
                <a16:creationId xmlns:a16="http://schemas.microsoft.com/office/drawing/2014/main" id="{40CE267A-7C40-92F7-E929-CFA268E84D93}"/>
              </a:ext>
            </a:extLst>
          </p:cNvPr>
          <p:cNvSpPr/>
          <p:nvPr/>
        </p:nvSpPr>
        <p:spPr>
          <a:xfrm>
            <a:off x="10783007" y="144321"/>
            <a:ext cx="1280362" cy="3019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b="1"/>
              <a:t>Analytical strand</a:t>
            </a:r>
          </a:p>
        </p:txBody>
      </p:sp>
      <p:sp>
        <p:nvSpPr>
          <p:cNvPr id="91" name="Rectangle 90">
            <a:extLst>
              <a:ext uri="{FF2B5EF4-FFF2-40B4-BE49-F238E27FC236}">
                <a16:creationId xmlns:a16="http://schemas.microsoft.com/office/drawing/2014/main" id="{A009F619-22F8-8B28-E987-2B816AAC0F36}"/>
              </a:ext>
            </a:extLst>
          </p:cNvPr>
          <p:cNvSpPr/>
          <p:nvPr/>
        </p:nvSpPr>
        <p:spPr>
          <a:xfrm>
            <a:off x="3658665" y="910686"/>
            <a:ext cx="2217098" cy="735605"/>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100"/>
              <a:t>What is an acceptable distance between KS5 sites?</a:t>
            </a:r>
          </a:p>
          <a:p>
            <a:pPr marL="171450" indent="-171450">
              <a:buFont typeface="Arial" panose="020B0604020202020204" pitchFamily="34" charset="0"/>
              <a:buChar char="•"/>
            </a:pPr>
            <a:r>
              <a:rPr lang="en-GB" sz="1100"/>
              <a:t>To what extent can provision be diversified at tech collages?</a:t>
            </a:r>
          </a:p>
        </p:txBody>
      </p:sp>
      <p:cxnSp>
        <p:nvCxnSpPr>
          <p:cNvPr id="92" name="Connector: Elbow 91">
            <a:extLst>
              <a:ext uri="{FF2B5EF4-FFF2-40B4-BE49-F238E27FC236}">
                <a16:creationId xmlns:a16="http://schemas.microsoft.com/office/drawing/2014/main" id="{272B2CD0-C32B-E01B-D5DE-4A6EB29DD801}"/>
              </a:ext>
            </a:extLst>
          </p:cNvPr>
          <p:cNvCxnSpPr>
            <a:cxnSpLocks/>
            <a:stCxn id="91" idx="3"/>
            <a:endCxn id="5" idx="0"/>
          </p:cNvCxnSpPr>
          <p:nvPr/>
        </p:nvCxnSpPr>
        <p:spPr>
          <a:xfrm>
            <a:off x="5875763" y="1278489"/>
            <a:ext cx="538056" cy="997772"/>
          </a:xfrm>
          <a:prstGeom prst="bentConnector2">
            <a:avLst/>
          </a:prstGeom>
          <a:ln>
            <a:tailEnd type="triangle"/>
          </a:ln>
        </p:spPr>
        <p:style>
          <a:lnRef idx="3">
            <a:schemeClr val="dk1"/>
          </a:lnRef>
          <a:fillRef idx="0">
            <a:schemeClr val="dk1"/>
          </a:fillRef>
          <a:effectRef idx="2">
            <a:schemeClr val="dk1"/>
          </a:effectRef>
          <a:fontRef idx="minor">
            <a:schemeClr val="tx1"/>
          </a:fontRef>
        </p:style>
      </p:cxnSp>
      <p:sp>
        <p:nvSpPr>
          <p:cNvPr id="126" name="Rectangle 125">
            <a:extLst>
              <a:ext uri="{FF2B5EF4-FFF2-40B4-BE49-F238E27FC236}">
                <a16:creationId xmlns:a16="http://schemas.microsoft.com/office/drawing/2014/main" id="{66078ADC-CCA1-004F-8787-4E16174B1842}"/>
              </a:ext>
            </a:extLst>
          </p:cNvPr>
          <p:cNvSpPr/>
          <p:nvPr/>
        </p:nvSpPr>
        <p:spPr>
          <a:xfrm>
            <a:off x="7625594" y="5373839"/>
            <a:ext cx="2524940" cy="1273250"/>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100"/>
              <a:t>Cost of diversifying provision at specialised collages/facilitating multisite learning. </a:t>
            </a:r>
          </a:p>
          <a:p>
            <a:pPr marL="171450" indent="-171450">
              <a:buFont typeface="Arial" panose="020B0604020202020204" pitchFamily="34" charset="0"/>
              <a:buChar char="•"/>
            </a:pPr>
            <a:r>
              <a:rPr lang="en-GB" sz="1100"/>
              <a:t>Cost of transporting learners between settings</a:t>
            </a:r>
          </a:p>
          <a:p>
            <a:pPr marL="171450" indent="-171450">
              <a:buFont typeface="Arial" panose="020B0604020202020204" pitchFamily="34" charset="0"/>
              <a:buChar char="•"/>
            </a:pPr>
            <a:r>
              <a:rPr lang="en-GB" sz="1100"/>
              <a:t>Cost of hiring more teachers</a:t>
            </a:r>
          </a:p>
          <a:p>
            <a:pPr marL="171450" indent="-171450">
              <a:buFont typeface="Arial" panose="020B0604020202020204" pitchFamily="34" charset="0"/>
              <a:buChar char="•"/>
            </a:pPr>
            <a:r>
              <a:rPr lang="en-GB" sz="1100"/>
              <a:t>Delivery timescales</a:t>
            </a:r>
          </a:p>
        </p:txBody>
      </p:sp>
      <p:cxnSp>
        <p:nvCxnSpPr>
          <p:cNvPr id="127" name="Connector: Elbow 126">
            <a:extLst>
              <a:ext uri="{FF2B5EF4-FFF2-40B4-BE49-F238E27FC236}">
                <a16:creationId xmlns:a16="http://schemas.microsoft.com/office/drawing/2014/main" id="{A113E5B5-F5AD-56DB-CC82-BF5F6BC0B14A}"/>
              </a:ext>
            </a:extLst>
          </p:cNvPr>
          <p:cNvCxnSpPr>
            <a:cxnSpLocks/>
            <a:stCxn id="126" idx="3"/>
            <a:endCxn id="7" idx="2"/>
          </p:cNvCxnSpPr>
          <p:nvPr/>
        </p:nvCxnSpPr>
        <p:spPr>
          <a:xfrm flipV="1">
            <a:off x="10150534" y="5100086"/>
            <a:ext cx="252792" cy="910378"/>
          </a:xfrm>
          <a:prstGeom prst="bentConnector2">
            <a:avLst/>
          </a:prstGeom>
          <a:ln>
            <a:tailEnd type="triangle"/>
          </a:ln>
        </p:spPr>
        <p:style>
          <a:lnRef idx="3">
            <a:schemeClr val="dk1"/>
          </a:lnRef>
          <a:fillRef idx="0">
            <a:schemeClr val="dk1"/>
          </a:fillRef>
          <a:effectRef idx="2">
            <a:schemeClr val="dk1"/>
          </a:effectRef>
          <a:fontRef idx="minor">
            <a:schemeClr val="tx1"/>
          </a:fontRef>
        </p:style>
      </p:cxnSp>
      <p:sp>
        <p:nvSpPr>
          <p:cNvPr id="149" name="Rectangle 148">
            <a:extLst>
              <a:ext uri="{FF2B5EF4-FFF2-40B4-BE49-F238E27FC236}">
                <a16:creationId xmlns:a16="http://schemas.microsoft.com/office/drawing/2014/main" id="{CCB83AFB-9DDB-11AF-254C-B697E9EC05FC}"/>
              </a:ext>
            </a:extLst>
          </p:cNvPr>
          <p:cNvSpPr/>
          <p:nvPr/>
        </p:nvSpPr>
        <p:spPr>
          <a:xfrm>
            <a:off x="7294759" y="1018384"/>
            <a:ext cx="1540386" cy="397204"/>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100"/>
              <a:t>Delivery timescales</a:t>
            </a:r>
          </a:p>
          <a:p>
            <a:pPr marL="171450" indent="-171450">
              <a:buFont typeface="Arial" panose="020B0604020202020204" pitchFamily="34" charset="0"/>
              <a:buChar char="•"/>
            </a:pPr>
            <a:r>
              <a:rPr lang="en-GB" sz="1100"/>
              <a:t>Available funds </a:t>
            </a:r>
          </a:p>
        </p:txBody>
      </p:sp>
      <p:cxnSp>
        <p:nvCxnSpPr>
          <p:cNvPr id="153" name="Straight Arrow Connector 152">
            <a:extLst>
              <a:ext uri="{FF2B5EF4-FFF2-40B4-BE49-F238E27FC236}">
                <a16:creationId xmlns:a16="http://schemas.microsoft.com/office/drawing/2014/main" id="{C11F77ED-E191-BC7D-6E1D-52C0BF1D2CEE}"/>
              </a:ext>
            </a:extLst>
          </p:cNvPr>
          <p:cNvCxnSpPr>
            <a:cxnSpLocks/>
            <a:stCxn id="8" idx="2"/>
            <a:endCxn id="7" idx="0"/>
          </p:cNvCxnSpPr>
          <p:nvPr/>
        </p:nvCxnSpPr>
        <p:spPr>
          <a:xfrm>
            <a:off x="10394173" y="2633460"/>
            <a:ext cx="9153" cy="1417898"/>
          </a:xfrm>
          <a:prstGeom prst="straightConnector1">
            <a:avLst/>
          </a:prstGeom>
          <a:ln w="19050">
            <a:headEnd type="triangle"/>
            <a:tailEnd type="triangle"/>
          </a:ln>
        </p:spPr>
        <p:style>
          <a:lnRef idx="1">
            <a:schemeClr val="dk1"/>
          </a:lnRef>
          <a:fillRef idx="0">
            <a:schemeClr val="dk1"/>
          </a:fillRef>
          <a:effectRef idx="0">
            <a:schemeClr val="dk1"/>
          </a:effectRef>
          <a:fontRef idx="minor">
            <a:schemeClr val="tx1"/>
          </a:fontRef>
        </p:style>
      </p:cxnSp>
      <p:cxnSp>
        <p:nvCxnSpPr>
          <p:cNvPr id="159" name="Connector: Elbow 158">
            <a:extLst>
              <a:ext uri="{FF2B5EF4-FFF2-40B4-BE49-F238E27FC236}">
                <a16:creationId xmlns:a16="http://schemas.microsoft.com/office/drawing/2014/main" id="{AAD19B29-96F9-9023-33E7-5360A7C64C62}"/>
              </a:ext>
            </a:extLst>
          </p:cNvPr>
          <p:cNvCxnSpPr>
            <a:cxnSpLocks/>
            <a:stCxn id="149" idx="3"/>
            <a:endCxn id="8" idx="0"/>
          </p:cNvCxnSpPr>
          <p:nvPr/>
        </p:nvCxnSpPr>
        <p:spPr>
          <a:xfrm>
            <a:off x="8835145" y="1216986"/>
            <a:ext cx="1559028" cy="522186"/>
          </a:xfrm>
          <a:prstGeom prst="bentConnector2">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2740658093"/>
      </p:ext>
    </p:extLst>
  </p:cSld>
  <p:clrMapOvr>
    <a:masterClrMapping/>
  </p:clrMapOvr>
  <p:extLst>
    <p:ext uri="{6950BFC3-D8DA-4A85-94F7-54DA5524770B}">
      <p188:commentRel xmlns:p188="http://schemas.microsoft.com/office/powerpoint/2018/8/main" r:id="rId2"/>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2CBCD4-CB6F-5E52-7E28-26A944E045EA}"/>
              </a:ext>
            </a:extLst>
          </p:cNvPr>
          <p:cNvSpPr>
            <a:spLocks noGrp="1"/>
          </p:cNvSpPr>
          <p:nvPr>
            <p:ph type="title"/>
          </p:nvPr>
        </p:nvSpPr>
        <p:spPr/>
        <p:txBody>
          <a:bodyPr/>
          <a:lstStyle/>
          <a:p>
            <a:r>
              <a:rPr lang="en-GB" dirty="0"/>
              <a:t>Next steps</a:t>
            </a:r>
          </a:p>
        </p:txBody>
      </p:sp>
      <p:sp>
        <p:nvSpPr>
          <p:cNvPr id="3" name="Content Placeholder 2">
            <a:extLst>
              <a:ext uri="{FF2B5EF4-FFF2-40B4-BE49-F238E27FC236}">
                <a16:creationId xmlns:a16="http://schemas.microsoft.com/office/drawing/2014/main" id="{DAE0806E-CE69-F1CF-937B-8D5D498F920B}"/>
              </a:ext>
            </a:extLst>
          </p:cNvPr>
          <p:cNvSpPr>
            <a:spLocks noGrp="1"/>
          </p:cNvSpPr>
          <p:nvPr>
            <p:ph idx="1"/>
          </p:nvPr>
        </p:nvSpPr>
        <p:spPr/>
        <p:txBody>
          <a:bodyPr/>
          <a:lstStyle/>
          <a:p>
            <a:r>
              <a:rPr lang="en-GB" dirty="0"/>
              <a:t>QA of phase 1 analysis (code)</a:t>
            </a:r>
          </a:p>
          <a:p>
            <a:r>
              <a:rPr lang="en-GB" dirty="0"/>
              <a:t>Sense check assumptions workshop with </a:t>
            </a:r>
            <a:r>
              <a:rPr lang="en-GB" dirty="0" err="1"/>
              <a:t>woijeic</a:t>
            </a:r>
            <a:r>
              <a:rPr lang="en-GB" dirty="0"/>
              <a:t> and someone from FE. Required me to make smooth documentation to explain how the model works. </a:t>
            </a:r>
          </a:p>
          <a:p>
            <a:r>
              <a:rPr lang="en-GB" dirty="0"/>
              <a:t>Revisit the question we set to </a:t>
            </a:r>
            <a:r>
              <a:rPr lang="en-GB" dirty="0" err="1"/>
              <a:t>kevin</a:t>
            </a:r>
            <a:r>
              <a:rPr lang="en-GB" dirty="0"/>
              <a:t> and </a:t>
            </a:r>
            <a:r>
              <a:rPr lang="en-GB" dirty="0" err="1"/>
              <a:t>isaac</a:t>
            </a:r>
            <a:endParaRPr lang="en-GB" dirty="0"/>
          </a:p>
          <a:p>
            <a:r>
              <a:rPr lang="en-GB" dirty="0"/>
              <a:t>Formalise scenarios – something that will come out of sense checking..</a:t>
            </a:r>
          </a:p>
          <a:p>
            <a:r>
              <a:rPr lang="en-GB" dirty="0"/>
              <a:t>Gaps analysis stuff – scope something and get this signed off by Kevin plus stakeholders… see where Nabila got too…</a:t>
            </a:r>
          </a:p>
          <a:p>
            <a:endParaRPr lang="en-GB" dirty="0"/>
          </a:p>
          <a:p>
            <a:endParaRPr lang="en-GB" dirty="0"/>
          </a:p>
        </p:txBody>
      </p:sp>
    </p:spTree>
    <p:extLst>
      <p:ext uri="{BB962C8B-B14F-4D97-AF65-F5344CB8AC3E}">
        <p14:creationId xmlns:p14="http://schemas.microsoft.com/office/powerpoint/2010/main" val="23924863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52133-DA80-7EF3-1BA2-C00282B4B59E}"/>
              </a:ext>
            </a:extLst>
          </p:cNvPr>
          <p:cNvSpPr>
            <a:spLocks noGrp="1"/>
          </p:cNvSpPr>
          <p:nvPr>
            <p:ph type="title"/>
          </p:nvPr>
        </p:nvSpPr>
        <p:spPr>
          <a:xfrm>
            <a:off x="1631951" y="43266"/>
            <a:ext cx="8856538" cy="701731"/>
          </a:xfrm>
        </p:spPr>
        <p:txBody>
          <a:bodyPr/>
          <a:lstStyle/>
          <a:p>
            <a:r>
              <a:rPr lang="en-GB"/>
              <a:t>Issues tree</a:t>
            </a:r>
          </a:p>
        </p:txBody>
      </p:sp>
      <p:sp>
        <p:nvSpPr>
          <p:cNvPr id="4" name="Rectangle 1">
            <a:extLst>
              <a:ext uri="{FF2B5EF4-FFF2-40B4-BE49-F238E27FC236}">
                <a16:creationId xmlns:a16="http://schemas.microsoft.com/office/drawing/2014/main" id="{46B0EBB1-165F-5C57-7A9A-06104A7B73D1}"/>
              </a:ext>
            </a:extLst>
          </p:cNvPr>
          <p:cNvSpPr>
            <a:spLocks noChangeArrowheads="1"/>
          </p:cNvSpPr>
          <p:nvPr/>
        </p:nvSpPr>
        <p:spPr bwMode="auto">
          <a:xfrm>
            <a:off x="1746206" y="755542"/>
            <a:ext cx="914400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a:solidFill>
                  <a:srgbClr val="000000"/>
                </a:solidFill>
                <a:latin typeface="Times New Roman" panose="02020603050405020304" pitchFamily="18" charset="0"/>
                <a:cs typeface="Times New Roman" panose="02020603050405020304" pitchFamily="18" charset="0"/>
              </a:rPr>
              <a:t> </a:t>
            </a:r>
            <a:endParaRPr lang="en-US" altLang="en-US"/>
          </a:p>
          <a:p>
            <a:endParaRPr lang="en-US" altLang="en-US"/>
          </a:p>
        </p:txBody>
      </p:sp>
      <p:sp>
        <p:nvSpPr>
          <p:cNvPr id="3" name="Rectangle 2">
            <a:extLst>
              <a:ext uri="{FF2B5EF4-FFF2-40B4-BE49-F238E27FC236}">
                <a16:creationId xmlns:a16="http://schemas.microsoft.com/office/drawing/2014/main" id="{92F341A1-ACE1-30E4-F8BE-4732564C38AD}"/>
              </a:ext>
            </a:extLst>
          </p:cNvPr>
          <p:cNvSpPr/>
          <p:nvPr/>
        </p:nvSpPr>
        <p:spPr>
          <a:xfrm>
            <a:off x="1746207" y="2340078"/>
            <a:ext cx="1606594" cy="2310580"/>
          </a:xfrm>
          <a:prstGeom prst="rect">
            <a:avLst/>
          </a:prstGeom>
          <a:solidFill>
            <a:srgbClr val="112F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783">
              <a:defRPr/>
            </a:pPr>
            <a:r>
              <a:rPr lang="en-GB" sz="1400" b="1" dirty="0">
                <a:solidFill>
                  <a:schemeClr val="bg1"/>
                </a:solidFill>
                <a:latin typeface="Arial" panose="020B0604020202020204" pitchFamily="34" charset="0"/>
              </a:rPr>
              <a:t>Q: What changes are needed to the 16-19 provider landscape to deliver the ABS reforms effectively and efficiently?</a:t>
            </a:r>
          </a:p>
        </p:txBody>
      </p:sp>
      <p:sp>
        <p:nvSpPr>
          <p:cNvPr id="6" name="Rectangle 5">
            <a:extLst>
              <a:ext uri="{FF2B5EF4-FFF2-40B4-BE49-F238E27FC236}">
                <a16:creationId xmlns:a16="http://schemas.microsoft.com/office/drawing/2014/main" id="{7D14AB00-E4CD-78A1-966B-0E687609E84A}"/>
              </a:ext>
            </a:extLst>
          </p:cNvPr>
          <p:cNvSpPr/>
          <p:nvPr/>
        </p:nvSpPr>
        <p:spPr>
          <a:xfrm>
            <a:off x="3971606" y="449492"/>
            <a:ext cx="1687397" cy="1402562"/>
          </a:xfrm>
          <a:prstGeom prst="rect">
            <a:avLst/>
          </a:prstGeom>
          <a:solidFill>
            <a:srgbClr val="09B2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GB" sz="1400" dirty="0">
                <a:solidFill>
                  <a:prstClr val="white"/>
                </a:solidFill>
                <a:latin typeface="Arial" panose="020B0604020202020204" pitchFamily="34" charset="0"/>
                <a:cs typeface="Arial" panose="020B0604020202020204" pitchFamily="34" charset="0"/>
              </a:rPr>
              <a:t>1. What does the current 16-19 provider market look like?</a:t>
            </a:r>
          </a:p>
        </p:txBody>
      </p:sp>
      <p:sp>
        <p:nvSpPr>
          <p:cNvPr id="7" name="Rectangle 6">
            <a:extLst>
              <a:ext uri="{FF2B5EF4-FFF2-40B4-BE49-F238E27FC236}">
                <a16:creationId xmlns:a16="http://schemas.microsoft.com/office/drawing/2014/main" id="{2BAFDC5D-78C8-5717-7DC1-3EB6446FB7E9}"/>
              </a:ext>
            </a:extLst>
          </p:cNvPr>
          <p:cNvSpPr/>
          <p:nvPr/>
        </p:nvSpPr>
        <p:spPr>
          <a:xfrm>
            <a:off x="3998249" y="2489460"/>
            <a:ext cx="1687397" cy="1955354"/>
          </a:xfrm>
          <a:prstGeom prst="rect">
            <a:avLst/>
          </a:prstGeom>
          <a:solidFill>
            <a:srgbClr val="09B2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GB" sz="1400" dirty="0">
                <a:solidFill>
                  <a:prstClr val="white"/>
                </a:solidFill>
                <a:latin typeface="Arial" panose="020B0604020202020204" pitchFamily="34" charset="0"/>
                <a:cs typeface="Arial" panose="020B0604020202020204" pitchFamily="34" charset="0"/>
              </a:rPr>
              <a:t>2. What does the 16-19 provider market need to look like to deliver the ABS (i.e. the end state)?</a:t>
            </a:r>
          </a:p>
        </p:txBody>
      </p:sp>
      <p:sp>
        <p:nvSpPr>
          <p:cNvPr id="9" name="Rectangle 8">
            <a:extLst>
              <a:ext uri="{FF2B5EF4-FFF2-40B4-BE49-F238E27FC236}">
                <a16:creationId xmlns:a16="http://schemas.microsoft.com/office/drawing/2014/main" id="{538A7D36-47C9-2266-76EC-B37E7C6ECE51}"/>
              </a:ext>
            </a:extLst>
          </p:cNvPr>
          <p:cNvSpPr/>
          <p:nvPr/>
        </p:nvSpPr>
        <p:spPr>
          <a:xfrm>
            <a:off x="3971605" y="5062228"/>
            <a:ext cx="1687397" cy="1527144"/>
          </a:xfrm>
          <a:prstGeom prst="rect">
            <a:avLst/>
          </a:prstGeom>
          <a:solidFill>
            <a:srgbClr val="09B2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GB" sz="1400" dirty="0">
                <a:solidFill>
                  <a:prstClr val="white"/>
                </a:solidFill>
                <a:latin typeface="Arial" panose="020B0604020202020204" pitchFamily="34" charset="0"/>
                <a:cs typeface="Arial" panose="020B0604020202020204" pitchFamily="34" charset="0"/>
              </a:rPr>
              <a:t>3. How do we achieve this end-state to deliver ABS? </a:t>
            </a:r>
          </a:p>
        </p:txBody>
      </p:sp>
      <p:sp>
        <p:nvSpPr>
          <p:cNvPr id="10" name="Rectangle 9">
            <a:extLst>
              <a:ext uri="{FF2B5EF4-FFF2-40B4-BE49-F238E27FC236}">
                <a16:creationId xmlns:a16="http://schemas.microsoft.com/office/drawing/2014/main" id="{A3A206C9-EB77-ED73-E310-2B0039DFDA37}"/>
              </a:ext>
            </a:extLst>
          </p:cNvPr>
          <p:cNvSpPr/>
          <p:nvPr/>
        </p:nvSpPr>
        <p:spPr>
          <a:xfrm>
            <a:off x="6096001" y="107369"/>
            <a:ext cx="3925455" cy="1975754"/>
          </a:xfrm>
          <a:prstGeom prst="rect">
            <a:avLst/>
          </a:prstGeom>
          <a:solidFill>
            <a:srgbClr val="AAD1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defRPr/>
            </a:pPr>
            <a:r>
              <a:rPr lang="en-GB" sz="1000" dirty="0">
                <a:solidFill>
                  <a:prstClr val="black"/>
                </a:solidFill>
                <a:latin typeface="Arial" panose="020B0604020202020204" pitchFamily="34" charset="0"/>
                <a:cs typeface="Arial" panose="020B0604020202020204" pitchFamily="34" charset="0"/>
              </a:rPr>
              <a:t>1a. Who are the providers and what are their characteristics?</a:t>
            </a:r>
          </a:p>
          <a:p>
            <a:pPr marL="685800" lvl="1" indent="-228600">
              <a:buFont typeface="Courier New" panose="02070309020205020404" pitchFamily="49" charset="0"/>
              <a:buChar char="o"/>
              <a:defRPr/>
            </a:pPr>
            <a:r>
              <a:rPr lang="en-GB" sz="1000" dirty="0">
                <a:solidFill>
                  <a:prstClr val="black"/>
                </a:solidFill>
                <a:latin typeface="Arial" panose="020B0604020202020204" pitchFamily="34" charset="0"/>
                <a:cs typeface="Arial" panose="020B0604020202020204" pitchFamily="34" charset="0"/>
              </a:rPr>
              <a:t>Type</a:t>
            </a:r>
          </a:p>
          <a:p>
            <a:pPr marL="685800" lvl="1" indent="-228600">
              <a:buFont typeface="Courier New" panose="02070309020205020404" pitchFamily="49" charset="0"/>
              <a:buChar char="o"/>
              <a:defRPr/>
            </a:pPr>
            <a:r>
              <a:rPr lang="en-GB" sz="1000" dirty="0">
                <a:solidFill>
                  <a:prstClr val="black"/>
                </a:solidFill>
                <a:latin typeface="Arial" panose="020B0604020202020204" pitchFamily="34" charset="0"/>
                <a:cs typeface="Arial" panose="020B0604020202020204" pitchFamily="34" charset="0"/>
              </a:rPr>
              <a:t>Size (e.g. student numbers)</a:t>
            </a:r>
          </a:p>
          <a:p>
            <a:pPr marL="685800" lvl="1" indent="-228600">
              <a:buFont typeface="Courier New" panose="02070309020205020404" pitchFamily="49" charset="0"/>
              <a:buChar char="o"/>
              <a:defRPr/>
            </a:pPr>
            <a:r>
              <a:rPr lang="en-GB" sz="1000" dirty="0">
                <a:solidFill>
                  <a:prstClr val="black"/>
                </a:solidFill>
                <a:latin typeface="Arial" panose="020B0604020202020204" pitchFamily="34" charset="0"/>
                <a:cs typeface="Arial" panose="020B0604020202020204" pitchFamily="34" charset="0"/>
              </a:rPr>
              <a:t>Location (including urban/rural split) </a:t>
            </a:r>
          </a:p>
          <a:p>
            <a:pPr marL="685800" lvl="1" indent="-228600">
              <a:buFont typeface="Courier New" panose="02070309020205020404" pitchFamily="49" charset="0"/>
              <a:buChar char="o"/>
              <a:defRPr/>
            </a:pPr>
            <a:r>
              <a:rPr lang="en-GB" sz="1000" dirty="0">
                <a:solidFill>
                  <a:prstClr val="black"/>
                </a:solidFill>
                <a:latin typeface="Arial" panose="020B0604020202020204" pitchFamily="34" charset="0"/>
                <a:cs typeface="Arial" panose="020B0604020202020204" pitchFamily="34" charset="0"/>
              </a:rPr>
              <a:t>Quality</a:t>
            </a:r>
          </a:p>
          <a:p>
            <a:pPr marL="685800" lvl="1" indent="-228600">
              <a:buFont typeface="Courier New" panose="02070309020205020404" pitchFamily="49" charset="0"/>
              <a:buChar char="o"/>
              <a:defRPr/>
            </a:pPr>
            <a:r>
              <a:rPr lang="en-GB" sz="1000" dirty="0">
                <a:solidFill>
                  <a:prstClr val="black"/>
                </a:solidFill>
                <a:latin typeface="Arial" panose="020B0604020202020204" pitchFamily="34" charset="0"/>
                <a:cs typeface="Arial" panose="020B0604020202020204" pitchFamily="34" charset="0"/>
              </a:rPr>
              <a:t>Cohort characteristics e.g. disadvantaged, SEND</a:t>
            </a:r>
          </a:p>
          <a:p>
            <a:pPr>
              <a:defRPr/>
            </a:pPr>
            <a:r>
              <a:rPr lang="en-GB" sz="1000" dirty="0">
                <a:solidFill>
                  <a:prstClr val="black"/>
                </a:solidFill>
                <a:latin typeface="Arial" panose="020B0604020202020204" pitchFamily="34" charset="0"/>
                <a:cs typeface="Arial" panose="020B0604020202020204" pitchFamily="34" charset="0"/>
              </a:rPr>
              <a:t>1b. What does each provider offer in terms of subjects? .g. offers most/all A level and T Level options, Only Tech levels etc. </a:t>
            </a:r>
          </a:p>
          <a:p>
            <a:pPr>
              <a:defRPr/>
            </a:pPr>
            <a:r>
              <a:rPr lang="en-GB" sz="1000" dirty="0">
                <a:solidFill>
                  <a:prstClr val="black"/>
                </a:solidFill>
                <a:latin typeface="Arial" panose="020B0604020202020204" pitchFamily="34" charset="0"/>
                <a:cs typeface="Arial" panose="020B0604020202020204" pitchFamily="34" charset="0"/>
              </a:rPr>
              <a:t>1c. What provider does the current cohort of students </a:t>
            </a:r>
            <a:r>
              <a:rPr lang="en-GB" sz="1000" dirty="0">
                <a:solidFill>
                  <a:schemeClr val="accent2"/>
                </a:solidFill>
                <a:latin typeface="Arial" panose="020B0604020202020204" pitchFamily="34" charset="0"/>
                <a:cs typeface="Arial" panose="020B0604020202020204" pitchFamily="34" charset="0"/>
              </a:rPr>
              <a:t>(to decided which cohort) </a:t>
            </a:r>
            <a:r>
              <a:rPr lang="en-GB" sz="1000" dirty="0">
                <a:solidFill>
                  <a:prstClr val="black"/>
                </a:solidFill>
                <a:latin typeface="Arial" panose="020B0604020202020204" pitchFamily="34" charset="0"/>
                <a:cs typeface="Arial" panose="020B0604020202020204" pitchFamily="34" charset="0"/>
              </a:rPr>
              <a:t>attend and what do they offer? </a:t>
            </a:r>
          </a:p>
          <a:p>
            <a:pPr>
              <a:defRPr/>
            </a:pPr>
            <a:r>
              <a:rPr lang="en-GB" sz="1000" dirty="0">
                <a:solidFill>
                  <a:prstClr val="black"/>
                </a:solidFill>
                <a:latin typeface="Arial" panose="020B0604020202020204" pitchFamily="34" charset="0"/>
                <a:cs typeface="Arial" panose="020B0604020202020204" pitchFamily="34" charset="0"/>
              </a:rPr>
              <a:t>1d. How do students with different characteristics differ in their provider choice? E.g. SEND, disadvantaged etc. </a:t>
            </a:r>
          </a:p>
        </p:txBody>
      </p:sp>
      <p:sp>
        <p:nvSpPr>
          <p:cNvPr id="13" name="Rectangle 12">
            <a:extLst>
              <a:ext uri="{FF2B5EF4-FFF2-40B4-BE49-F238E27FC236}">
                <a16:creationId xmlns:a16="http://schemas.microsoft.com/office/drawing/2014/main" id="{EA1E6459-A443-5CB8-AF0C-86EF2BC7A95B}"/>
              </a:ext>
            </a:extLst>
          </p:cNvPr>
          <p:cNvSpPr/>
          <p:nvPr/>
        </p:nvSpPr>
        <p:spPr>
          <a:xfrm>
            <a:off x="6095999" y="2203686"/>
            <a:ext cx="3925456" cy="2858542"/>
          </a:xfrm>
          <a:prstGeom prst="rect">
            <a:avLst/>
          </a:prstGeom>
          <a:solidFill>
            <a:srgbClr val="AAD1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defRPr/>
            </a:pPr>
            <a:r>
              <a:rPr lang="en-GB" sz="1000" dirty="0">
                <a:solidFill>
                  <a:prstClr val="black"/>
                </a:solidFill>
                <a:latin typeface="Arial" panose="020B0604020202020204" pitchFamily="34" charset="0"/>
                <a:cs typeface="Arial" panose="020B0604020202020204" pitchFamily="34" charset="0"/>
              </a:rPr>
              <a:t>2a. How will the ABS change what a provider needs to deliver? </a:t>
            </a:r>
          </a:p>
          <a:p>
            <a:pPr marL="685800" lvl="1" indent="-228600">
              <a:buFont typeface="Courier New" panose="02070309020205020404" pitchFamily="49" charset="0"/>
              <a:buChar char="o"/>
              <a:defRPr/>
            </a:pPr>
            <a:r>
              <a:rPr lang="en-GB" sz="1000" dirty="0">
                <a:solidFill>
                  <a:prstClr val="black"/>
                </a:solidFill>
                <a:latin typeface="Arial" panose="020B0604020202020204" pitchFamily="34" charset="0"/>
                <a:cs typeface="Arial" panose="020B0604020202020204" pitchFamily="34" charset="0"/>
              </a:rPr>
              <a:t>Offer of English and maths</a:t>
            </a:r>
          </a:p>
          <a:p>
            <a:pPr marL="685800" lvl="1" indent="-228600">
              <a:buFont typeface="Courier New" panose="02070309020205020404" pitchFamily="49" charset="0"/>
              <a:buChar char="o"/>
              <a:defRPr/>
            </a:pPr>
            <a:r>
              <a:rPr lang="en-GB" sz="1000" dirty="0">
                <a:solidFill>
                  <a:prstClr val="black"/>
                </a:solidFill>
                <a:latin typeface="Arial" panose="020B0604020202020204" pitchFamily="34" charset="0"/>
                <a:cs typeface="Arial" panose="020B0604020202020204" pitchFamily="34" charset="0"/>
              </a:rPr>
              <a:t>Subject breadth conditions – academic and technical </a:t>
            </a:r>
          </a:p>
          <a:p>
            <a:pPr marL="685800" lvl="1" indent="-228600">
              <a:buFont typeface="Courier New" panose="02070309020205020404" pitchFamily="49" charset="0"/>
              <a:buChar char="o"/>
              <a:defRPr/>
            </a:pPr>
            <a:r>
              <a:rPr lang="en-GB" sz="1000" dirty="0">
                <a:solidFill>
                  <a:prstClr val="black"/>
                </a:solidFill>
                <a:latin typeface="Arial" panose="020B0604020202020204" pitchFamily="34" charset="0"/>
                <a:cs typeface="Arial" panose="020B0604020202020204" pitchFamily="34" charset="0"/>
              </a:rPr>
              <a:t>Other scenarios?</a:t>
            </a:r>
          </a:p>
          <a:p>
            <a:pPr>
              <a:defRPr/>
            </a:pPr>
            <a:r>
              <a:rPr lang="en-GB" sz="1000" dirty="0">
                <a:solidFill>
                  <a:prstClr val="black"/>
                </a:solidFill>
                <a:latin typeface="Arial" panose="020B0604020202020204" pitchFamily="34" charset="0"/>
                <a:cs typeface="Arial" panose="020B0604020202020204" pitchFamily="34" charset="0"/>
              </a:rPr>
              <a:t>2b. Based on the above, which of the current providers would be able to offer the ABS now based on their current breadth of offer, and which could not? </a:t>
            </a:r>
          </a:p>
          <a:p>
            <a:pPr>
              <a:defRPr/>
            </a:pPr>
            <a:r>
              <a:rPr lang="en-GB" sz="1000" dirty="0">
                <a:solidFill>
                  <a:prstClr val="black"/>
                </a:solidFill>
                <a:latin typeface="Arial" panose="020B0604020202020204" pitchFamily="34" charset="0"/>
                <a:cs typeface="Arial" panose="020B0604020202020204" pitchFamily="34" charset="0"/>
              </a:rPr>
              <a:t>2c. What are the characteristics of those providers that can/cannot? (focusing on the characteristics listed in 1a.)</a:t>
            </a:r>
          </a:p>
          <a:p>
            <a:pPr>
              <a:defRPr/>
            </a:pPr>
            <a:r>
              <a:rPr lang="en-GB" sz="1000" dirty="0">
                <a:solidFill>
                  <a:prstClr val="black"/>
                </a:solidFill>
                <a:latin typeface="Arial" panose="020B0604020202020204" pitchFamily="34" charset="0"/>
                <a:cs typeface="Arial" panose="020B0604020202020204" pitchFamily="34" charset="0"/>
              </a:rPr>
              <a:t>2d. Where are there cold spots where there is no / insufficient capacity for students to access the full breadth of the expected ABS within a reasonable distance?</a:t>
            </a:r>
          </a:p>
          <a:p>
            <a:pPr>
              <a:defRPr/>
            </a:pPr>
            <a:r>
              <a:rPr lang="en-GB" sz="1000" dirty="0">
                <a:solidFill>
                  <a:prstClr val="black"/>
                </a:solidFill>
                <a:latin typeface="Arial" panose="020B0604020202020204" pitchFamily="34" charset="0"/>
                <a:cs typeface="Arial" panose="020B0604020202020204" pitchFamily="34" charset="0"/>
              </a:rPr>
              <a:t>2e. What changes are required to reach the end-state (e.g. does the current market have the capacity/capability to deliver the ABS)? </a:t>
            </a:r>
          </a:p>
          <a:p>
            <a:pPr>
              <a:defRPr/>
            </a:pPr>
            <a:r>
              <a:rPr lang="en-GB" sz="1000" dirty="0">
                <a:solidFill>
                  <a:prstClr val="black"/>
                </a:solidFill>
                <a:latin typeface="Arial" panose="020B0604020202020204" pitchFamily="34" charset="0"/>
                <a:cs typeface="Arial" panose="020B0604020202020204" pitchFamily="34" charset="0"/>
              </a:rPr>
              <a:t>2f. What do we want the 16-19 provider market to look like to ensure the ABS is delivered? </a:t>
            </a:r>
          </a:p>
          <a:p>
            <a:pPr>
              <a:defRPr/>
            </a:pPr>
            <a:r>
              <a:rPr lang="en-GB" sz="1000" dirty="0">
                <a:solidFill>
                  <a:prstClr val="black"/>
                </a:solidFill>
                <a:latin typeface="Arial" panose="020B0604020202020204" pitchFamily="34" charset="0"/>
                <a:cs typeface="Arial" panose="020B0604020202020204" pitchFamily="34" charset="0"/>
              </a:rPr>
              <a:t>2g. What are the wider aims for the 16-19 market beyond ABS delivery?</a:t>
            </a:r>
          </a:p>
        </p:txBody>
      </p:sp>
      <p:cxnSp>
        <p:nvCxnSpPr>
          <p:cNvPr id="17" name="Connector: Elbow 16">
            <a:extLst>
              <a:ext uri="{FF2B5EF4-FFF2-40B4-BE49-F238E27FC236}">
                <a16:creationId xmlns:a16="http://schemas.microsoft.com/office/drawing/2014/main" id="{6E0628D0-C6A1-B812-8387-3216D296C258}"/>
              </a:ext>
            </a:extLst>
          </p:cNvPr>
          <p:cNvCxnSpPr>
            <a:cxnSpLocks/>
            <a:stCxn id="3" idx="3"/>
            <a:endCxn id="6" idx="1"/>
          </p:cNvCxnSpPr>
          <p:nvPr/>
        </p:nvCxnSpPr>
        <p:spPr>
          <a:xfrm flipV="1">
            <a:off x="3352801" y="1150774"/>
            <a:ext cx="618804" cy="234459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36E40F65-986C-707B-738B-687831DE7FBE}"/>
              </a:ext>
            </a:extLst>
          </p:cNvPr>
          <p:cNvCxnSpPr>
            <a:cxnSpLocks/>
            <a:stCxn id="3" idx="3"/>
            <a:endCxn id="7" idx="1"/>
          </p:cNvCxnSpPr>
          <p:nvPr/>
        </p:nvCxnSpPr>
        <p:spPr>
          <a:xfrm flipV="1">
            <a:off x="3352802" y="3467138"/>
            <a:ext cx="645447" cy="282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6310F97E-81AF-D66C-B350-4C3220849148}"/>
              </a:ext>
            </a:extLst>
          </p:cNvPr>
          <p:cNvCxnSpPr>
            <a:cxnSpLocks/>
            <a:stCxn id="3" idx="3"/>
            <a:endCxn id="9" idx="1"/>
          </p:cNvCxnSpPr>
          <p:nvPr/>
        </p:nvCxnSpPr>
        <p:spPr>
          <a:xfrm>
            <a:off x="3352802" y="3495368"/>
            <a:ext cx="618803" cy="233043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19926FE0-0AB3-DD37-DB90-81D788C28950}"/>
              </a:ext>
            </a:extLst>
          </p:cNvPr>
          <p:cNvCxnSpPr>
            <a:cxnSpLocks/>
            <a:stCxn id="6" idx="3"/>
            <a:endCxn id="10" idx="1"/>
          </p:cNvCxnSpPr>
          <p:nvPr/>
        </p:nvCxnSpPr>
        <p:spPr>
          <a:xfrm flipV="1">
            <a:off x="5659002" y="1095247"/>
            <a:ext cx="436998" cy="5552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F27C6AEA-A3A0-9D75-9400-13912C50C380}"/>
              </a:ext>
            </a:extLst>
          </p:cNvPr>
          <p:cNvCxnSpPr>
            <a:cxnSpLocks/>
            <a:stCxn id="7" idx="3"/>
            <a:endCxn id="13" idx="1"/>
          </p:cNvCxnSpPr>
          <p:nvPr/>
        </p:nvCxnSpPr>
        <p:spPr>
          <a:xfrm>
            <a:off x="5685645" y="3467137"/>
            <a:ext cx="410354" cy="16582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624ADF65-5209-F06C-EE4E-0509E90BF42E}"/>
              </a:ext>
            </a:extLst>
          </p:cNvPr>
          <p:cNvCxnSpPr>
            <a:cxnSpLocks/>
            <a:stCxn id="9" idx="3"/>
            <a:endCxn id="34" idx="1"/>
          </p:cNvCxnSpPr>
          <p:nvPr/>
        </p:nvCxnSpPr>
        <p:spPr>
          <a:xfrm>
            <a:off x="5659002" y="5825801"/>
            <a:ext cx="436999" cy="16796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DFE752A9-DE98-43BC-39BE-6283BD52EC9D}"/>
              </a:ext>
            </a:extLst>
          </p:cNvPr>
          <p:cNvSpPr/>
          <p:nvPr/>
        </p:nvSpPr>
        <p:spPr>
          <a:xfrm>
            <a:off x="6096001" y="5149160"/>
            <a:ext cx="3925455" cy="1689214"/>
          </a:xfrm>
          <a:prstGeom prst="rect">
            <a:avLst/>
          </a:prstGeom>
          <a:solidFill>
            <a:srgbClr val="AAD1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fontAlgn="base">
              <a:defRPr/>
            </a:pPr>
            <a:r>
              <a:rPr lang="en-GB" sz="1000" dirty="0">
                <a:solidFill>
                  <a:prstClr val="black"/>
                </a:solidFill>
                <a:latin typeface="Arial" panose="020B0604020202020204" pitchFamily="34" charset="0"/>
                <a:cs typeface="Arial" panose="020B0604020202020204" pitchFamily="34" charset="0"/>
              </a:rPr>
              <a:t>3a. What are the key differences between the current state and end state? </a:t>
            </a:r>
            <a:r>
              <a:rPr lang="en-US" sz="1000" dirty="0">
                <a:solidFill>
                  <a:prstClr val="black"/>
                </a:solidFill>
                <a:latin typeface="Arial" panose="020B0604020202020204" pitchFamily="34" charset="0"/>
                <a:cs typeface="Arial" panose="020B0604020202020204" pitchFamily="34" charset="0"/>
              </a:rPr>
              <a:t>​</a:t>
            </a:r>
          </a:p>
          <a:p>
            <a:pPr fontAlgn="base">
              <a:defRPr/>
            </a:pPr>
            <a:r>
              <a:rPr lang="en-GB" sz="1000" dirty="0">
                <a:solidFill>
                  <a:prstClr val="black"/>
                </a:solidFill>
                <a:latin typeface="Arial" panose="020B0604020202020204" pitchFamily="34" charset="0"/>
                <a:cs typeface="Arial" panose="020B0604020202020204" pitchFamily="34" charset="0"/>
              </a:rPr>
              <a:t>3b. What are the different options to reach this end-state? What levers can we use to make these changes </a:t>
            </a:r>
            <a:r>
              <a:rPr lang="en-US" sz="1000" dirty="0">
                <a:solidFill>
                  <a:prstClr val="black"/>
                </a:solidFill>
                <a:latin typeface="Arial" panose="020B0604020202020204" pitchFamily="34" charset="0"/>
                <a:cs typeface="Arial" panose="020B0604020202020204" pitchFamily="34" charset="0"/>
              </a:rPr>
              <a:t>​</a:t>
            </a:r>
            <a:r>
              <a:rPr lang="en-GB" sz="1000" dirty="0">
                <a:solidFill>
                  <a:prstClr val="black"/>
                </a:solidFill>
                <a:latin typeface="Arial" panose="020B0604020202020204" pitchFamily="34" charset="0"/>
                <a:cs typeface="Arial" panose="020B0604020202020204" pitchFamily="34" charset="0"/>
              </a:rPr>
              <a:t> e.g. legislation / regulation, funding, comms etc.? </a:t>
            </a:r>
          </a:p>
          <a:p>
            <a:pPr fontAlgn="base">
              <a:defRPr/>
            </a:pPr>
            <a:r>
              <a:rPr lang="en-GB" sz="1000" dirty="0">
                <a:solidFill>
                  <a:prstClr val="black"/>
                </a:solidFill>
                <a:latin typeface="Arial" panose="020B0604020202020204" pitchFamily="34" charset="0"/>
                <a:cs typeface="Arial" panose="020B0604020202020204" pitchFamily="34" charset="0"/>
              </a:rPr>
              <a:t>3c. What are the cost and deliverability implications of each of these options?</a:t>
            </a:r>
            <a:r>
              <a:rPr lang="en-GB" sz="1000" dirty="0">
                <a:solidFill>
                  <a:schemeClr val="accent2"/>
                </a:solidFill>
                <a:latin typeface="Arial" panose="020B0604020202020204" pitchFamily="34" charset="0"/>
                <a:cs typeface="Arial" panose="020B0604020202020204" pitchFamily="34" charset="0"/>
              </a:rPr>
              <a:t> To be considered further as phase 2 of the project. </a:t>
            </a:r>
            <a:endParaRPr lang="en-GB" sz="1000" dirty="0">
              <a:solidFill>
                <a:prstClr val="black"/>
              </a:solidFill>
              <a:latin typeface="Arial" panose="020B0604020202020204" pitchFamily="34" charset="0"/>
              <a:cs typeface="Arial" panose="020B0604020202020204" pitchFamily="34" charset="0"/>
            </a:endParaRPr>
          </a:p>
          <a:p>
            <a:pPr fontAlgn="base">
              <a:defRPr/>
            </a:pPr>
            <a:r>
              <a:rPr lang="en-GB" sz="1000" dirty="0">
                <a:solidFill>
                  <a:prstClr val="black"/>
                </a:solidFill>
                <a:latin typeface="Arial" panose="020B0604020202020204" pitchFamily="34" charset="0"/>
                <a:cs typeface="Arial" panose="020B0604020202020204" pitchFamily="34" charset="0"/>
              </a:rPr>
              <a:t>3d. What other challenges will need to be considered (e.g. estates, workforce) </a:t>
            </a:r>
            <a:r>
              <a:rPr lang="en-GB" sz="1000" dirty="0">
                <a:solidFill>
                  <a:schemeClr val="accent2"/>
                </a:solidFill>
                <a:latin typeface="Arial" panose="020B0604020202020204" pitchFamily="34" charset="0"/>
                <a:cs typeface="Arial" panose="020B0604020202020204" pitchFamily="34" charset="0"/>
              </a:rPr>
              <a:t>To be considered further as phase 2 of the project. </a:t>
            </a:r>
            <a:endParaRPr lang="en-US" sz="1000" dirty="0">
              <a:solidFill>
                <a:prstClr val="black"/>
              </a:solidFill>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58D0F9F0-3F70-7859-7A21-CEE9E67F1BC6}"/>
              </a:ext>
            </a:extLst>
          </p:cNvPr>
          <p:cNvSpPr/>
          <p:nvPr/>
        </p:nvSpPr>
        <p:spPr>
          <a:xfrm>
            <a:off x="5948218" y="51840"/>
            <a:ext cx="4211782" cy="5041791"/>
          </a:xfrm>
          <a:prstGeom prst="rect">
            <a:avLst/>
          </a:prstGeom>
          <a:noFill/>
          <a:ln>
            <a:solidFill>
              <a:schemeClr val="accent2"/>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Rectangle 64">
            <a:extLst>
              <a:ext uri="{FF2B5EF4-FFF2-40B4-BE49-F238E27FC236}">
                <a16:creationId xmlns:a16="http://schemas.microsoft.com/office/drawing/2014/main" id="{08DFB1F2-9B90-1142-A645-3D8771DA56B1}"/>
              </a:ext>
            </a:extLst>
          </p:cNvPr>
          <p:cNvSpPr/>
          <p:nvPr/>
        </p:nvSpPr>
        <p:spPr>
          <a:xfrm>
            <a:off x="10068642" y="449492"/>
            <a:ext cx="552171" cy="508650"/>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50" b="1" dirty="0"/>
              <a:t>Initial focus</a:t>
            </a:r>
          </a:p>
        </p:txBody>
      </p:sp>
    </p:spTree>
    <p:extLst>
      <p:ext uri="{BB962C8B-B14F-4D97-AF65-F5344CB8AC3E}">
        <p14:creationId xmlns:p14="http://schemas.microsoft.com/office/powerpoint/2010/main" val="1318243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D44BD-DEE9-37C6-3990-09DEBE1DF62A}"/>
              </a:ext>
            </a:extLst>
          </p:cNvPr>
          <p:cNvSpPr>
            <a:spLocks noGrp="1"/>
          </p:cNvSpPr>
          <p:nvPr>
            <p:ph type="title"/>
          </p:nvPr>
        </p:nvSpPr>
        <p:spPr>
          <a:xfrm>
            <a:off x="317378" y="336836"/>
            <a:ext cx="11557243" cy="1325563"/>
          </a:xfrm>
        </p:spPr>
        <p:txBody>
          <a:bodyPr>
            <a:normAutofit/>
          </a:bodyPr>
          <a:lstStyle/>
          <a:p>
            <a:r>
              <a:rPr lang="en-GB" sz="3600" dirty="0"/>
              <a:t>Work force implications by Level of teaching specialism [OLD]</a:t>
            </a:r>
          </a:p>
        </p:txBody>
      </p:sp>
      <p:sp>
        <p:nvSpPr>
          <p:cNvPr id="5" name="Content Placeholder 4">
            <a:extLst>
              <a:ext uri="{FF2B5EF4-FFF2-40B4-BE49-F238E27FC236}">
                <a16:creationId xmlns:a16="http://schemas.microsoft.com/office/drawing/2014/main" id="{432B92C9-FEC5-9973-A981-8B9789C2E86F}"/>
              </a:ext>
            </a:extLst>
          </p:cNvPr>
          <p:cNvSpPr>
            <a:spLocks noGrp="1"/>
          </p:cNvSpPr>
          <p:nvPr>
            <p:ph idx="1"/>
          </p:nvPr>
        </p:nvSpPr>
        <p:spPr>
          <a:xfrm>
            <a:off x="6178582" y="1761733"/>
            <a:ext cx="4920016" cy="2293491"/>
          </a:xfrm>
        </p:spPr>
        <p:txBody>
          <a:bodyPr>
            <a:normAutofit lnSpcReduction="10000"/>
          </a:bodyPr>
          <a:lstStyle/>
          <a:p>
            <a:pPr marL="0" indent="0">
              <a:buNone/>
            </a:pPr>
            <a:r>
              <a:rPr lang="en-GB" sz="1800" b="1" dirty="0"/>
              <a:t>[draft] Indicative initial findings</a:t>
            </a:r>
          </a:p>
          <a:p>
            <a:r>
              <a:rPr lang="en-GB" sz="1800" dirty="0"/>
              <a:t>Our ABS model predicts we need an extra ~ X,X00. The maths to 18 model predicted we need ~ 3,500-7,000 additional maths teachers. (figures are excluding the current shortfall). </a:t>
            </a:r>
          </a:p>
          <a:p>
            <a:r>
              <a:rPr lang="en-GB" sz="1800" dirty="0"/>
              <a:t>Whether there is a distinct L2.5 option will significantly effect the proportion of these that require specialism to teach L3 maths. </a:t>
            </a:r>
          </a:p>
        </p:txBody>
      </p:sp>
      <p:sp>
        <p:nvSpPr>
          <p:cNvPr id="19" name="TextBox 18">
            <a:extLst>
              <a:ext uri="{FF2B5EF4-FFF2-40B4-BE49-F238E27FC236}">
                <a16:creationId xmlns:a16="http://schemas.microsoft.com/office/drawing/2014/main" id="{C00EA9BD-7761-76AC-32D6-AAD05FF273D0}"/>
              </a:ext>
            </a:extLst>
          </p:cNvPr>
          <p:cNvSpPr txBox="1"/>
          <p:nvPr/>
        </p:nvSpPr>
        <p:spPr>
          <a:xfrm>
            <a:off x="596031" y="1761733"/>
            <a:ext cx="5118340" cy="2031325"/>
          </a:xfrm>
          <a:prstGeom prst="rect">
            <a:avLst/>
          </a:prstGeom>
          <a:noFill/>
        </p:spPr>
        <p:txBody>
          <a:bodyPr wrap="square">
            <a:spAutoFit/>
          </a:bodyPr>
          <a:lstStyle/>
          <a:p>
            <a:r>
              <a:rPr lang="en-GB" sz="1800" b="1" dirty="0"/>
              <a:t>Assumptions</a:t>
            </a:r>
          </a:p>
          <a:p>
            <a:pPr marL="285750" indent="-285750">
              <a:buFont typeface="Arial" panose="020B0604020202020204" pitchFamily="34" charset="0"/>
              <a:buChar char="•"/>
            </a:pPr>
            <a:r>
              <a:rPr lang="en-GB" sz="1800" dirty="0"/>
              <a:t>Baseline years are 2016-18</a:t>
            </a:r>
            <a:r>
              <a:rPr lang="en-GB" dirty="0"/>
              <a:t> - </a:t>
            </a:r>
            <a:r>
              <a:rPr lang="en-GB" sz="1800" dirty="0"/>
              <a:t>before maths to 18 was developed and began rolling out</a:t>
            </a:r>
          </a:p>
          <a:p>
            <a:pPr marL="285750" indent="-285750">
              <a:buFont typeface="Arial" panose="020B0604020202020204" pitchFamily="34" charset="0"/>
              <a:buChar char="•"/>
            </a:pPr>
            <a:r>
              <a:rPr lang="en-GB" dirty="0"/>
              <a:t>ABS GLH are 90% of current L3. </a:t>
            </a:r>
            <a:endParaRPr lang="en-GB" sz="1800" dirty="0"/>
          </a:p>
          <a:p>
            <a:pPr marL="285750" indent="-285750">
              <a:buFont typeface="Arial" panose="020B0604020202020204" pitchFamily="34" charset="0"/>
              <a:buChar char="•"/>
            </a:pPr>
            <a:r>
              <a:rPr lang="en-GB" sz="1800" dirty="0"/>
              <a:t>We have assumed: 17 learners per class, 5 classes per week for a major, 2.5 for other routes. Teachers deliver 19.9 hours of teaching a week. </a:t>
            </a:r>
          </a:p>
        </p:txBody>
      </p:sp>
    </p:spTree>
    <p:extLst>
      <p:ext uri="{BB962C8B-B14F-4D97-AF65-F5344CB8AC3E}">
        <p14:creationId xmlns:p14="http://schemas.microsoft.com/office/powerpoint/2010/main" val="42124227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DDF40-92E8-9347-F45F-0D4F7984267F}"/>
              </a:ext>
            </a:extLst>
          </p:cNvPr>
          <p:cNvSpPr>
            <a:spLocks noGrp="1"/>
          </p:cNvSpPr>
          <p:nvPr>
            <p:ph type="title"/>
          </p:nvPr>
        </p:nvSpPr>
        <p:spPr/>
        <p:txBody>
          <a:bodyPr/>
          <a:lstStyle/>
          <a:p>
            <a:r>
              <a:rPr lang="en-GB" dirty="0"/>
              <a:t>2 scenarios </a:t>
            </a:r>
          </a:p>
        </p:txBody>
      </p:sp>
      <p:sp>
        <p:nvSpPr>
          <p:cNvPr id="3" name="Content Placeholder 2">
            <a:extLst>
              <a:ext uri="{FF2B5EF4-FFF2-40B4-BE49-F238E27FC236}">
                <a16:creationId xmlns:a16="http://schemas.microsoft.com/office/drawing/2014/main" id="{EB72243E-B731-E8E5-A3B3-E059D6A79140}"/>
              </a:ext>
            </a:extLst>
          </p:cNvPr>
          <p:cNvSpPr>
            <a:spLocks noGrp="1"/>
          </p:cNvSpPr>
          <p:nvPr>
            <p:ph idx="1"/>
          </p:nvPr>
        </p:nvSpPr>
        <p:spPr/>
        <p:txBody>
          <a:bodyPr/>
          <a:lstStyle/>
          <a:p>
            <a:r>
              <a:rPr lang="en-GB" dirty="0"/>
              <a:t>Early implementation</a:t>
            </a:r>
          </a:p>
          <a:p>
            <a:r>
              <a:rPr lang="en-GB" dirty="0"/>
              <a:t>Slower and considering more </a:t>
            </a:r>
            <a:r>
              <a:rPr lang="en-GB"/>
              <a:t>subjects </a:t>
            </a:r>
          </a:p>
          <a:p>
            <a:endParaRPr lang="en-GB" dirty="0"/>
          </a:p>
        </p:txBody>
      </p:sp>
    </p:spTree>
    <p:extLst>
      <p:ext uri="{BB962C8B-B14F-4D97-AF65-F5344CB8AC3E}">
        <p14:creationId xmlns:p14="http://schemas.microsoft.com/office/powerpoint/2010/main" val="36077615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AE454-D051-FE45-8627-B2D4AA93770A}"/>
              </a:ext>
            </a:extLst>
          </p:cNvPr>
          <p:cNvSpPr>
            <a:spLocks noGrp="1"/>
          </p:cNvSpPr>
          <p:nvPr>
            <p:ph type="title"/>
          </p:nvPr>
        </p:nvSpPr>
        <p:spPr/>
        <p:txBody>
          <a:bodyPr/>
          <a:lstStyle/>
          <a:p>
            <a:r>
              <a:rPr lang="en-GB"/>
              <a:t>1.1 Cohort analysis </a:t>
            </a:r>
          </a:p>
        </p:txBody>
      </p:sp>
      <p:sp>
        <p:nvSpPr>
          <p:cNvPr id="6" name="TextBox 5">
            <a:extLst>
              <a:ext uri="{FF2B5EF4-FFF2-40B4-BE49-F238E27FC236}">
                <a16:creationId xmlns:a16="http://schemas.microsoft.com/office/drawing/2014/main" id="{D4051D0F-41A4-2C48-9306-C59A1AAAA4DC}"/>
              </a:ext>
            </a:extLst>
          </p:cNvPr>
          <p:cNvSpPr txBox="1"/>
          <p:nvPr/>
        </p:nvSpPr>
        <p:spPr>
          <a:xfrm>
            <a:off x="545285" y="1690688"/>
            <a:ext cx="4815280" cy="2031325"/>
          </a:xfrm>
          <a:prstGeom prst="rect">
            <a:avLst/>
          </a:prstGeom>
          <a:noFill/>
          <a:ln w="28575">
            <a:solidFill>
              <a:schemeClr val="tx1"/>
            </a:solidFill>
          </a:ln>
        </p:spPr>
        <p:txBody>
          <a:bodyPr wrap="square" rtlCol="0">
            <a:spAutoFit/>
          </a:bodyPr>
          <a:lstStyle/>
          <a:p>
            <a:r>
              <a:rPr lang="en-GB" sz="1400" b="1"/>
              <a:t>Inputs:</a:t>
            </a:r>
          </a:p>
          <a:p>
            <a:pPr marL="285750" indent="-285750">
              <a:buFont typeface="Arial" panose="020B0604020202020204" pitchFamily="34" charset="0"/>
              <a:buChar char="•"/>
            </a:pPr>
            <a:r>
              <a:rPr lang="en-GB" sz="1400"/>
              <a:t>Design of the ABS – what pathways exists for maths/Eng to 18? Major, Minor, L2 resit, below L2 etc</a:t>
            </a:r>
          </a:p>
          <a:p>
            <a:pPr marL="285750" indent="-285750">
              <a:buFont typeface="Arial" panose="020B0604020202020204" pitchFamily="34" charset="0"/>
              <a:buChar char="•"/>
            </a:pPr>
            <a:r>
              <a:rPr lang="en-GB" sz="1400"/>
              <a:t>Demographics</a:t>
            </a:r>
          </a:p>
          <a:p>
            <a:pPr marL="285750" indent="-285750">
              <a:buFont typeface="Arial" panose="020B0604020202020204" pitchFamily="34" charset="0"/>
              <a:buChar char="•"/>
            </a:pPr>
            <a:r>
              <a:rPr lang="en-GB" sz="1400"/>
              <a:t>Future attainment (eligibility for different tracks)</a:t>
            </a:r>
          </a:p>
          <a:p>
            <a:pPr marL="285750" indent="-285750">
              <a:buFont typeface="Arial" panose="020B0604020202020204" pitchFamily="34" charset="0"/>
              <a:buChar char="•"/>
            </a:pPr>
            <a:r>
              <a:rPr lang="en-GB" sz="1400"/>
              <a:t>Behavioural response of learners (choosing a pathway): </a:t>
            </a:r>
          </a:p>
          <a:p>
            <a:pPr marL="742950" lvl="1" indent="-285750">
              <a:buFont typeface="Arial" panose="020B0604020202020204" pitchFamily="34" charset="0"/>
              <a:buChar char="•"/>
            </a:pPr>
            <a:r>
              <a:rPr lang="en-GB" sz="1400"/>
              <a:t>How many who currently do/do not choose A levels in Eng/Maths will go for the major/minor etc. </a:t>
            </a:r>
          </a:p>
          <a:p>
            <a:pPr marL="285750" indent="-285750">
              <a:buFont typeface="Arial" panose="020B0604020202020204" pitchFamily="34" charset="0"/>
              <a:buChar char="•"/>
            </a:pPr>
            <a:r>
              <a:rPr lang="en-GB" sz="1400"/>
              <a:t>Admin data on current flow from GCSE to AS to A level. </a:t>
            </a:r>
          </a:p>
        </p:txBody>
      </p:sp>
      <p:sp>
        <p:nvSpPr>
          <p:cNvPr id="7" name="TextBox 6">
            <a:extLst>
              <a:ext uri="{FF2B5EF4-FFF2-40B4-BE49-F238E27FC236}">
                <a16:creationId xmlns:a16="http://schemas.microsoft.com/office/drawing/2014/main" id="{2AC94C8B-DF42-2791-17CF-5625E9DBC2C4}"/>
              </a:ext>
            </a:extLst>
          </p:cNvPr>
          <p:cNvSpPr txBox="1"/>
          <p:nvPr/>
        </p:nvSpPr>
        <p:spPr>
          <a:xfrm>
            <a:off x="545285" y="4462800"/>
            <a:ext cx="4815280" cy="1169551"/>
          </a:xfrm>
          <a:prstGeom prst="rect">
            <a:avLst/>
          </a:prstGeom>
          <a:noFill/>
          <a:ln w="28575">
            <a:solidFill>
              <a:schemeClr val="tx1"/>
            </a:solidFill>
          </a:ln>
        </p:spPr>
        <p:txBody>
          <a:bodyPr wrap="square" rtlCol="0">
            <a:spAutoFit/>
          </a:bodyPr>
          <a:lstStyle/>
          <a:p>
            <a:r>
              <a:rPr lang="en-GB" sz="1400" b="1"/>
              <a:t>Resource requirement/ timescales:</a:t>
            </a:r>
          </a:p>
          <a:p>
            <a:pPr marL="285750" indent="-285750">
              <a:buFont typeface="Arial" panose="020B0604020202020204" pitchFamily="34" charset="0"/>
              <a:buChar char="•"/>
            </a:pPr>
            <a:r>
              <a:rPr lang="en-GB" sz="1400"/>
              <a:t>A “quick” version of this can be worked up fast within a few days – I’m keen to demonstrate that this is deliverable. </a:t>
            </a:r>
          </a:p>
          <a:p>
            <a:pPr marL="285750" indent="-285750">
              <a:buFont typeface="Arial" panose="020B0604020202020204" pitchFamily="34" charset="0"/>
              <a:buChar char="•"/>
            </a:pPr>
            <a:r>
              <a:rPr lang="en-GB" sz="1400"/>
              <a:t>Deploying the most recent data and fully sensitivity testing the inputs will take longer (end of w/c 27</a:t>
            </a:r>
            <a:r>
              <a:rPr lang="en-GB" sz="1400" baseline="30000"/>
              <a:t>th</a:t>
            </a:r>
            <a:r>
              <a:rPr lang="en-GB" sz="1400"/>
              <a:t>)</a:t>
            </a:r>
            <a:endParaRPr lang="en-GB"/>
          </a:p>
        </p:txBody>
      </p:sp>
      <p:sp>
        <p:nvSpPr>
          <p:cNvPr id="8" name="TextBox 7">
            <a:extLst>
              <a:ext uri="{FF2B5EF4-FFF2-40B4-BE49-F238E27FC236}">
                <a16:creationId xmlns:a16="http://schemas.microsoft.com/office/drawing/2014/main" id="{7D7C49DD-5C31-3B06-D6BC-105FD4E8F39A}"/>
              </a:ext>
            </a:extLst>
          </p:cNvPr>
          <p:cNvSpPr txBox="1"/>
          <p:nvPr/>
        </p:nvSpPr>
        <p:spPr>
          <a:xfrm>
            <a:off x="5806579" y="477832"/>
            <a:ext cx="5840136" cy="5693866"/>
          </a:xfrm>
          <a:prstGeom prst="rect">
            <a:avLst/>
          </a:prstGeom>
          <a:noFill/>
          <a:ln w="28575">
            <a:solidFill>
              <a:schemeClr val="tx1"/>
            </a:solidFill>
          </a:ln>
        </p:spPr>
        <p:txBody>
          <a:bodyPr wrap="square" rtlCol="0">
            <a:spAutoFit/>
          </a:bodyPr>
          <a:lstStyle/>
          <a:p>
            <a:r>
              <a:rPr lang="en-GB" sz="1400" b="1"/>
              <a:t>Methodology:</a:t>
            </a:r>
          </a:p>
          <a:p>
            <a:pPr marL="285750" indent="-285750">
              <a:buFont typeface="Arial" panose="020B0604020202020204" pitchFamily="34" charset="0"/>
              <a:buChar char="•"/>
            </a:pPr>
            <a:r>
              <a:rPr lang="en-GB" sz="1400"/>
              <a:t>Estimates to be made bottom up – i.e. we consider each pupil individually.  This enable us to easily transform the cohort's attainment and size and will keep options open to answer a wide range of questions about the impact of the policy by location and pupil’s characteristics. This granularity will be essential for evaluating the distributions created by our assumptions about learners' choices, and to evaluate these in any depth. Reasonable answers to questions about coverage will require localised inputs created by this analysis. </a:t>
            </a:r>
          </a:p>
          <a:p>
            <a:pPr marL="285750" indent="-285750">
              <a:buFont typeface="Arial" panose="020B0604020202020204" pitchFamily="34" charset="0"/>
              <a:buChar char="•"/>
            </a:pPr>
            <a:r>
              <a:rPr lang="en-GB" sz="1400"/>
              <a:t>Estimate size of cohort due to demographic changes over the next 10 years. (PPUs demographics project from earlier this year has already done this at a regional level). </a:t>
            </a:r>
          </a:p>
          <a:p>
            <a:pPr marL="285750" indent="-285750">
              <a:buFont typeface="Arial" panose="020B0604020202020204" pitchFamily="34" charset="0"/>
              <a:buChar char="•"/>
            </a:pPr>
            <a:r>
              <a:rPr lang="en-GB" sz="1400"/>
              <a:t>Estimate Eng/maths attainment of this cohort over next 10 years. (I imagine changes to overall attainment can be made uniformly at first – assume a national distribution of attainment and shift up by x%.) potentially swap in regional figures later if of interest. </a:t>
            </a:r>
          </a:p>
          <a:p>
            <a:pPr marL="285750" indent="-285750">
              <a:buFont typeface="Arial" panose="020B0604020202020204" pitchFamily="34" charset="0"/>
              <a:buChar char="•"/>
            </a:pPr>
            <a:r>
              <a:rPr lang="en-GB" sz="1400"/>
              <a:t>Based on current flow from GCSE to AS to A level, create range of assumptions about each type of learner's distribution entering each ABS track. </a:t>
            </a:r>
          </a:p>
          <a:p>
            <a:pPr marL="285750" indent="-285750">
              <a:buFont typeface="Arial" panose="020B0604020202020204" pitchFamily="34" charset="0"/>
              <a:buChar char="•"/>
            </a:pPr>
            <a:r>
              <a:rPr lang="en-GB" sz="1400"/>
              <a:t>Apply policy assumptions about the shape and nature of the compulsorily ABS Eng/maths tracks, and assumptions about learner choices given their eligibility (based on attainment) for each track, to estimate the number on each route. Operate on a per pupil basis; given attainment tabularly roll to draw from their prospect of educational tracks. Technically this makes a Monte Carlo Model (!) but variations will cancel out on the aggregate picture. </a:t>
            </a:r>
            <a:endParaRPr lang="en-GB"/>
          </a:p>
        </p:txBody>
      </p:sp>
    </p:spTree>
    <p:extLst>
      <p:ext uri="{BB962C8B-B14F-4D97-AF65-F5344CB8AC3E}">
        <p14:creationId xmlns:p14="http://schemas.microsoft.com/office/powerpoint/2010/main" val="383138653"/>
      </p:ext>
    </p:extLst>
  </p:cSld>
  <p:clrMapOvr>
    <a:masterClrMapping/>
  </p:clrMapOvr>
  <p:extLst>
    <p:ext uri="{6950BFC3-D8DA-4A85-94F7-54DA5524770B}">
      <p188:commentRel xmlns:p188="http://schemas.microsoft.com/office/powerpoint/2018/8/main" r:id="rId2"/>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ACC5B-9976-46A8-9B3E-C382EFCB3929}"/>
              </a:ext>
            </a:extLst>
          </p:cNvPr>
          <p:cNvSpPr>
            <a:spLocks noGrp="1"/>
          </p:cNvSpPr>
          <p:nvPr>
            <p:ph type="title"/>
          </p:nvPr>
        </p:nvSpPr>
        <p:spPr>
          <a:xfrm>
            <a:off x="490057" y="239290"/>
            <a:ext cx="10515600" cy="1325563"/>
          </a:xfrm>
        </p:spPr>
        <p:txBody>
          <a:bodyPr/>
          <a:lstStyle/>
          <a:p>
            <a:r>
              <a:rPr lang="en-GB"/>
              <a:t>1</a:t>
            </a:r>
            <a:r>
              <a:rPr lang="en-GB" sz="4000"/>
              <a:t>.2 Cohort analysis (simpler parallel methodology)</a:t>
            </a:r>
            <a:endParaRPr lang="en-GB"/>
          </a:p>
        </p:txBody>
      </p:sp>
      <p:sp>
        <p:nvSpPr>
          <p:cNvPr id="4" name="TextBox 3">
            <a:extLst>
              <a:ext uri="{FF2B5EF4-FFF2-40B4-BE49-F238E27FC236}">
                <a16:creationId xmlns:a16="http://schemas.microsoft.com/office/drawing/2014/main" id="{C1A42D6C-969E-6A43-C7C1-26D31D5734C1}"/>
              </a:ext>
            </a:extLst>
          </p:cNvPr>
          <p:cNvSpPr txBox="1"/>
          <p:nvPr/>
        </p:nvSpPr>
        <p:spPr>
          <a:xfrm>
            <a:off x="545285" y="1690688"/>
            <a:ext cx="4815280" cy="2031325"/>
          </a:xfrm>
          <a:prstGeom prst="rect">
            <a:avLst/>
          </a:prstGeom>
          <a:noFill/>
          <a:ln w="28575">
            <a:solidFill>
              <a:schemeClr val="tx1"/>
            </a:solidFill>
          </a:ln>
        </p:spPr>
        <p:txBody>
          <a:bodyPr wrap="square" rtlCol="0">
            <a:spAutoFit/>
          </a:bodyPr>
          <a:lstStyle/>
          <a:p>
            <a:r>
              <a:rPr lang="en-GB" sz="1400" b="1"/>
              <a:t>Inputs:</a:t>
            </a:r>
          </a:p>
          <a:p>
            <a:pPr marL="285750" indent="-285750">
              <a:buFont typeface="Arial" panose="020B0604020202020204" pitchFamily="34" charset="0"/>
              <a:buChar char="•"/>
            </a:pPr>
            <a:r>
              <a:rPr lang="en-GB" sz="1400"/>
              <a:t>Design of the ABS – what pathways exists for maths/Eng to 18? Major, Minor, L2 resit, below L2 etc</a:t>
            </a:r>
          </a:p>
          <a:p>
            <a:pPr marL="285750" indent="-285750">
              <a:buFont typeface="Arial" panose="020B0604020202020204" pitchFamily="34" charset="0"/>
              <a:buChar char="•"/>
            </a:pPr>
            <a:r>
              <a:rPr lang="en-GB" sz="1400"/>
              <a:t>Demographics</a:t>
            </a:r>
          </a:p>
          <a:p>
            <a:pPr marL="285750" indent="-285750">
              <a:buFont typeface="Arial" panose="020B0604020202020204" pitchFamily="34" charset="0"/>
              <a:buChar char="•"/>
            </a:pPr>
            <a:r>
              <a:rPr lang="en-GB" sz="1400"/>
              <a:t>Future attainment (eligibility for different tracks)</a:t>
            </a:r>
          </a:p>
          <a:p>
            <a:pPr marL="285750" indent="-285750">
              <a:buFont typeface="Arial" panose="020B0604020202020204" pitchFamily="34" charset="0"/>
              <a:buChar char="•"/>
            </a:pPr>
            <a:r>
              <a:rPr lang="en-GB" sz="1400"/>
              <a:t>Behavioural response of learners (choosing a pathway): </a:t>
            </a:r>
          </a:p>
          <a:p>
            <a:pPr marL="742950" lvl="1" indent="-285750">
              <a:buFont typeface="Arial" panose="020B0604020202020204" pitchFamily="34" charset="0"/>
              <a:buChar char="•"/>
            </a:pPr>
            <a:r>
              <a:rPr lang="en-GB" sz="1400"/>
              <a:t>How many who currently do/do not choose A levels in Eng/Maths will go for the major/minor etc. </a:t>
            </a:r>
          </a:p>
          <a:p>
            <a:pPr marL="285750" indent="-285750">
              <a:buFont typeface="Arial" panose="020B0604020202020204" pitchFamily="34" charset="0"/>
              <a:buChar char="•"/>
            </a:pPr>
            <a:r>
              <a:rPr lang="en-GB" sz="1400"/>
              <a:t>Admin data on current flow from GCSE to AS to A level. </a:t>
            </a:r>
          </a:p>
        </p:txBody>
      </p:sp>
      <p:sp>
        <p:nvSpPr>
          <p:cNvPr id="5" name="TextBox 4">
            <a:extLst>
              <a:ext uri="{FF2B5EF4-FFF2-40B4-BE49-F238E27FC236}">
                <a16:creationId xmlns:a16="http://schemas.microsoft.com/office/drawing/2014/main" id="{F07AE724-1EAF-A55F-FEF8-97891EC0AC1F}"/>
              </a:ext>
            </a:extLst>
          </p:cNvPr>
          <p:cNvSpPr txBox="1"/>
          <p:nvPr/>
        </p:nvSpPr>
        <p:spPr>
          <a:xfrm>
            <a:off x="545285" y="4213205"/>
            <a:ext cx="4815280" cy="954107"/>
          </a:xfrm>
          <a:prstGeom prst="rect">
            <a:avLst/>
          </a:prstGeom>
          <a:noFill/>
          <a:ln w="28575">
            <a:solidFill>
              <a:schemeClr val="tx1"/>
            </a:solidFill>
          </a:ln>
        </p:spPr>
        <p:txBody>
          <a:bodyPr wrap="square" rtlCol="0">
            <a:spAutoFit/>
          </a:bodyPr>
          <a:lstStyle/>
          <a:p>
            <a:r>
              <a:rPr lang="en-GB" sz="1400" b="1"/>
              <a:t>Resource requirement/ timescales:</a:t>
            </a:r>
          </a:p>
          <a:p>
            <a:pPr marL="285750" indent="-285750">
              <a:buFont typeface="Arial" panose="020B0604020202020204" pitchFamily="34" charset="0"/>
              <a:buChar char="•"/>
            </a:pPr>
            <a:r>
              <a:rPr lang="en-GB" sz="1400"/>
              <a:t>Once assumptions about learners per track has been worked up for 1.1 – straight forward excel based exercise to estimate aggregate student volumes.(1/2 days) </a:t>
            </a:r>
          </a:p>
        </p:txBody>
      </p:sp>
      <p:sp>
        <p:nvSpPr>
          <p:cNvPr id="6" name="TextBox 5">
            <a:extLst>
              <a:ext uri="{FF2B5EF4-FFF2-40B4-BE49-F238E27FC236}">
                <a16:creationId xmlns:a16="http://schemas.microsoft.com/office/drawing/2014/main" id="{57466BC8-2F7A-9617-5641-AB94A8184686}"/>
              </a:ext>
            </a:extLst>
          </p:cNvPr>
          <p:cNvSpPr txBox="1"/>
          <p:nvPr/>
        </p:nvSpPr>
        <p:spPr>
          <a:xfrm>
            <a:off x="5813571" y="1690688"/>
            <a:ext cx="5833144" cy="3539430"/>
          </a:xfrm>
          <a:prstGeom prst="rect">
            <a:avLst/>
          </a:prstGeom>
          <a:noFill/>
          <a:ln w="28575">
            <a:solidFill>
              <a:schemeClr val="tx1"/>
            </a:solidFill>
          </a:ln>
        </p:spPr>
        <p:txBody>
          <a:bodyPr wrap="square" rtlCol="0">
            <a:spAutoFit/>
          </a:bodyPr>
          <a:lstStyle/>
          <a:p>
            <a:r>
              <a:rPr lang="en-GB" sz="1600" b="1"/>
              <a:t>Methodology:</a:t>
            </a:r>
          </a:p>
          <a:p>
            <a:pPr marL="285750" indent="-285750">
              <a:buFont typeface="Arial" panose="020B0604020202020204" pitchFamily="34" charset="0"/>
              <a:buChar char="•"/>
            </a:pPr>
            <a:r>
              <a:rPr lang="en-GB" sz="1600"/>
              <a:t>Estimates to be made top down. We will work out the weighted proportions of learners who will end up on each track. </a:t>
            </a:r>
          </a:p>
          <a:p>
            <a:pPr marL="285750" indent="-285750">
              <a:buFont typeface="Arial" panose="020B0604020202020204" pitchFamily="34" charset="0"/>
              <a:buChar char="•"/>
            </a:pPr>
            <a:r>
              <a:rPr lang="en-GB" sz="1600"/>
              <a:t>Estimate size of cohort due to demographic changes over the next 10 years. (extract directly from National pupil forecasts)</a:t>
            </a:r>
          </a:p>
          <a:p>
            <a:pPr marL="285750" indent="-285750">
              <a:buFont typeface="Arial" panose="020B0604020202020204" pitchFamily="34" charset="0"/>
              <a:buChar char="•"/>
            </a:pPr>
            <a:r>
              <a:rPr lang="en-GB" sz="1600"/>
              <a:t>Estimate Eng/maths attainment of this cohort over next 10 years. Adjust distribution of KS4 attainment by simple modifiers. </a:t>
            </a:r>
          </a:p>
          <a:p>
            <a:pPr marL="285750" indent="-285750">
              <a:buFont typeface="Arial" panose="020B0604020202020204" pitchFamily="34" charset="0"/>
              <a:buChar char="•"/>
            </a:pPr>
            <a:r>
              <a:rPr lang="en-GB" sz="1600"/>
              <a:t>Based on current flow from GCSE to AS to A level, create range of assumptions about each type of learner's distribution entering each ABS track. </a:t>
            </a:r>
          </a:p>
          <a:p>
            <a:pPr marL="285750" indent="-285750">
              <a:buFont typeface="Arial" panose="020B0604020202020204" pitchFamily="34" charset="0"/>
              <a:buChar char="•"/>
            </a:pPr>
            <a:r>
              <a:rPr lang="en-GB" sz="1600"/>
              <a:t>Apply policy assumptions about the shape and nature of the compulsorily ABS Eng/maths tracks, and assumptions about learner choices given their eligibility (based on attainment) for each track, to estimate the  proportion on each route. </a:t>
            </a:r>
            <a:endParaRPr lang="en-GB" sz="2000"/>
          </a:p>
        </p:txBody>
      </p:sp>
    </p:spTree>
    <p:extLst>
      <p:ext uri="{BB962C8B-B14F-4D97-AF65-F5344CB8AC3E}">
        <p14:creationId xmlns:p14="http://schemas.microsoft.com/office/powerpoint/2010/main" val="38087736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1D97F-8E41-5D3F-2F21-E8A1ADFA67AC}"/>
              </a:ext>
            </a:extLst>
          </p:cNvPr>
          <p:cNvSpPr>
            <a:spLocks noGrp="1"/>
          </p:cNvSpPr>
          <p:nvPr>
            <p:ph type="title"/>
          </p:nvPr>
        </p:nvSpPr>
        <p:spPr>
          <a:xfrm>
            <a:off x="469434" y="157749"/>
            <a:ext cx="5318970" cy="1192880"/>
          </a:xfrm>
        </p:spPr>
        <p:txBody>
          <a:bodyPr/>
          <a:lstStyle/>
          <a:p>
            <a:r>
              <a:rPr lang="en-GB"/>
              <a:t>2. Workforce analysis </a:t>
            </a:r>
          </a:p>
        </p:txBody>
      </p:sp>
      <p:sp>
        <p:nvSpPr>
          <p:cNvPr id="4" name="TextBox 3">
            <a:extLst>
              <a:ext uri="{FF2B5EF4-FFF2-40B4-BE49-F238E27FC236}">
                <a16:creationId xmlns:a16="http://schemas.microsoft.com/office/drawing/2014/main" id="{6F99F926-4834-7987-D5C3-AFB5D1EBE45C}"/>
              </a:ext>
            </a:extLst>
          </p:cNvPr>
          <p:cNvSpPr txBox="1"/>
          <p:nvPr/>
        </p:nvSpPr>
        <p:spPr>
          <a:xfrm>
            <a:off x="755009" y="1690688"/>
            <a:ext cx="4530055" cy="2031325"/>
          </a:xfrm>
          <a:prstGeom prst="rect">
            <a:avLst/>
          </a:prstGeom>
          <a:noFill/>
          <a:ln w="28575">
            <a:solidFill>
              <a:schemeClr val="tx1"/>
            </a:solidFill>
          </a:ln>
        </p:spPr>
        <p:txBody>
          <a:bodyPr wrap="square" rtlCol="0">
            <a:spAutoFit/>
          </a:bodyPr>
          <a:lstStyle/>
          <a:p>
            <a:r>
              <a:rPr lang="en-GB" b="1"/>
              <a:t>Inputs:</a:t>
            </a:r>
          </a:p>
          <a:p>
            <a:pPr marL="285750" indent="-285750">
              <a:buFont typeface="Arial" panose="020B0604020202020204" pitchFamily="34" charset="0"/>
              <a:buChar char="•"/>
            </a:pPr>
            <a:r>
              <a:rPr lang="en-GB"/>
              <a:t>What are the GLH for each of the compulsory Eng/Maths track?</a:t>
            </a:r>
          </a:p>
          <a:p>
            <a:pPr marL="285750" indent="-285750">
              <a:buFont typeface="Arial" panose="020B0604020202020204" pitchFamily="34" charset="0"/>
              <a:buChar char="•"/>
            </a:pPr>
            <a:r>
              <a:rPr lang="en-GB"/>
              <a:t>TWM projection of teacher supply (counterfactual/baseline)</a:t>
            </a:r>
          </a:p>
          <a:p>
            <a:pPr marL="285750" indent="-285750">
              <a:buFont typeface="Arial" panose="020B0604020202020204" pitchFamily="34" charset="0"/>
              <a:buChar char="•"/>
            </a:pPr>
            <a:r>
              <a:rPr lang="en-GB"/>
              <a:t>Quantity of learners on each track at regional level (output of strand 1)</a:t>
            </a:r>
          </a:p>
        </p:txBody>
      </p:sp>
      <p:sp>
        <p:nvSpPr>
          <p:cNvPr id="5" name="TextBox 4">
            <a:extLst>
              <a:ext uri="{FF2B5EF4-FFF2-40B4-BE49-F238E27FC236}">
                <a16:creationId xmlns:a16="http://schemas.microsoft.com/office/drawing/2014/main" id="{6038B0EF-B992-B909-2C27-E352E9D81B38}"/>
              </a:ext>
            </a:extLst>
          </p:cNvPr>
          <p:cNvSpPr txBox="1"/>
          <p:nvPr/>
        </p:nvSpPr>
        <p:spPr>
          <a:xfrm>
            <a:off x="755009" y="4062072"/>
            <a:ext cx="4605556" cy="1200329"/>
          </a:xfrm>
          <a:prstGeom prst="rect">
            <a:avLst/>
          </a:prstGeom>
          <a:noFill/>
          <a:ln w="28575">
            <a:solidFill>
              <a:schemeClr val="tx1"/>
            </a:solidFill>
          </a:ln>
        </p:spPr>
        <p:txBody>
          <a:bodyPr wrap="square" rtlCol="0">
            <a:spAutoFit/>
          </a:bodyPr>
          <a:lstStyle/>
          <a:p>
            <a:r>
              <a:rPr lang="en-GB"/>
              <a:t>Resource requirement/ timescales:</a:t>
            </a:r>
          </a:p>
          <a:p>
            <a:pPr marL="285750" indent="-285750">
              <a:buFont typeface="Arial" panose="020B0604020202020204" pitchFamily="34" charset="0"/>
              <a:buChar char="•"/>
            </a:pPr>
            <a:r>
              <a:rPr lang="en-GB"/>
              <a:t>If strand 1 has been completed according to plan, this strand shouldn’t take very long to execute. </a:t>
            </a:r>
          </a:p>
        </p:txBody>
      </p:sp>
      <p:sp>
        <p:nvSpPr>
          <p:cNvPr id="6" name="TextBox 5">
            <a:extLst>
              <a:ext uri="{FF2B5EF4-FFF2-40B4-BE49-F238E27FC236}">
                <a16:creationId xmlns:a16="http://schemas.microsoft.com/office/drawing/2014/main" id="{E51BF0D1-B39A-38DE-BB7A-F15281E5A156}"/>
              </a:ext>
            </a:extLst>
          </p:cNvPr>
          <p:cNvSpPr txBox="1"/>
          <p:nvPr/>
        </p:nvSpPr>
        <p:spPr>
          <a:xfrm>
            <a:off x="5538132" y="1690688"/>
            <a:ext cx="5840136" cy="1477328"/>
          </a:xfrm>
          <a:prstGeom prst="rect">
            <a:avLst/>
          </a:prstGeom>
          <a:noFill/>
          <a:ln w="28575">
            <a:solidFill>
              <a:schemeClr val="tx1"/>
            </a:solidFill>
          </a:ln>
        </p:spPr>
        <p:txBody>
          <a:bodyPr wrap="square" rtlCol="0">
            <a:spAutoFit/>
          </a:bodyPr>
          <a:lstStyle/>
          <a:p>
            <a:r>
              <a:rPr lang="en-GB" b="1"/>
              <a:t>Methodology:</a:t>
            </a:r>
          </a:p>
          <a:p>
            <a:pPr marL="285750" indent="-285750">
              <a:buFont typeface="Arial" panose="020B0604020202020204" pitchFamily="34" charset="0"/>
              <a:buChar char="•"/>
            </a:pPr>
            <a:r>
              <a:rPr lang="en-GB"/>
              <a:t>Based on estimated quantity of learners by track, we can estimate regional demand for additional teachers.  </a:t>
            </a:r>
          </a:p>
          <a:p>
            <a:endParaRPr lang="en-GB"/>
          </a:p>
          <a:p>
            <a:endParaRPr lang="en-GB"/>
          </a:p>
        </p:txBody>
      </p:sp>
    </p:spTree>
    <p:extLst>
      <p:ext uri="{BB962C8B-B14F-4D97-AF65-F5344CB8AC3E}">
        <p14:creationId xmlns:p14="http://schemas.microsoft.com/office/powerpoint/2010/main" val="1101493986"/>
      </p:ext>
    </p:extLst>
  </p:cSld>
  <p:clrMapOvr>
    <a:masterClrMapping/>
  </p:clrMapOvr>
  <p:extLst>
    <p:ext uri="{6950BFC3-D8DA-4A85-94F7-54DA5524770B}">
      <p188:commentRel xmlns:p188="http://schemas.microsoft.com/office/powerpoint/2018/8/main" r:id="rId2"/>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4F3FC2-F444-7206-6D09-616DF3E54D74}"/>
              </a:ext>
            </a:extLst>
          </p:cNvPr>
          <p:cNvSpPr>
            <a:spLocks noGrp="1"/>
          </p:cNvSpPr>
          <p:nvPr>
            <p:ph type="title"/>
          </p:nvPr>
        </p:nvSpPr>
        <p:spPr>
          <a:xfrm>
            <a:off x="838200" y="365125"/>
            <a:ext cx="10515600" cy="1128115"/>
          </a:xfrm>
        </p:spPr>
        <p:txBody>
          <a:bodyPr/>
          <a:lstStyle/>
          <a:p>
            <a:r>
              <a:rPr lang="en-GB"/>
              <a:t>3. Provider analysis</a:t>
            </a:r>
          </a:p>
        </p:txBody>
      </p:sp>
      <p:sp>
        <p:nvSpPr>
          <p:cNvPr id="4" name="TextBox 3">
            <a:extLst>
              <a:ext uri="{FF2B5EF4-FFF2-40B4-BE49-F238E27FC236}">
                <a16:creationId xmlns:a16="http://schemas.microsoft.com/office/drawing/2014/main" id="{49DD399B-F4D8-8014-B5B9-6B2F350F1D69}"/>
              </a:ext>
            </a:extLst>
          </p:cNvPr>
          <p:cNvSpPr txBox="1"/>
          <p:nvPr/>
        </p:nvSpPr>
        <p:spPr>
          <a:xfrm>
            <a:off x="755008" y="1690688"/>
            <a:ext cx="4530055" cy="3077766"/>
          </a:xfrm>
          <a:prstGeom prst="rect">
            <a:avLst/>
          </a:prstGeom>
          <a:noFill/>
          <a:ln w="28575">
            <a:solidFill>
              <a:schemeClr val="tx1"/>
            </a:solidFill>
          </a:ln>
        </p:spPr>
        <p:txBody>
          <a:bodyPr wrap="square" rtlCol="0">
            <a:spAutoFit/>
          </a:bodyPr>
          <a:lstStyle/>
          <a:p>
            <a:r>
              <a:rPr lang="en-GB" b="1"/>
              <a:t>Inputs:</a:t>
            </a:r>
          </a:p>
          <a:p>
            <a:pPr marL="285750" indent="-285750">
              <a:buFont typeface="Arial" panose="020B0604020202020204" pitchFamily="34" charset="0"/>
              <a:buChar char="•"/>
            </a:pPr>
            <a:r>
              <a:rPr lang="en-GB"/>
              <a:t>Data on the current size, occupancy and range of provision at all KS5 providers.  </a:t>
            </a:r>
          </a:p>
          <a:p>
            <a:pPr marL="285750" indent="-285750">
              <a:buFont typeface="Arial" panose="020B0604020202020204" pitchFamily="34" charset="0"/>
              <a:buChar char="•"/>
            </a:pPr>
            <a:r>
              <a:rPr lang="en-GB"/>
              <a:t>Quantity of learners on each track at regional level. (output of strand 1)</a:t>
            </a:r>
          </a:p>
          <a:p>
            <a:pPr marL="285750" indent="-285750">
              <a:buFont typeface="Arial" panose="020B0604020202020204" pitchFamily="34" charset="0"/>
              <a:buChar char="•"/>
            </a:pPr>
            <a:r>
              <a:rPr lang="en-GB"/>
              <a:t>Assumptions about how much capacity can be diversified</a:t>
            </a:r>
          </a:p>
          <a:p>
            <a:pPr marL="285750" indent="-285750">
              <a:buFont typeface="Arial" panose="020B0604020202020204" pitchFamily="34" charset="0"/>
              <a:buChar char="•"/>
            </a:pPr>
            <a:r>
              <a:rPr lang="en-GB"/>
              <a:t>Assumptions about acceptable commutable distances. </a:t>
            </a:r>
          </a:p>
          <a:p>
            <a:pPr marL="285750" indent="-285750">
              <a:buFont typeface="Arial" panose="020B0604020202020204" pitchFamily="34" charset="0"/>
              <a:buChar char="•"/>
            </a:pPr>
            <a:endParaRPr lang="en-GB"/>
          </a:p>
          <a:p>
            <a:pPr marL="285750" indent="-285750">
              <a:buFont typeface="Arial" panose="020B0604020202020204" pitchFamily="34" charset="0"/>
              <a:buChar char="•"/>
            </a:pPr>
            <a:endParaRPr lang="en-GB" sz="1400"/>
          </a:p>
        </p:txBody>
      </p:sp>
      <p:sp>
        <p:nvSpPr>
          <p:cNvPr id="5" name="TextBox 4">
            <a:extLst>
              <a:ext uri="{FF2B5EF4-FFF2-40B4-BE49-F238E27FC236}">
                <a16:creationId xmlns:a16="http://schemas.microsoft.com/office/drawing/2014/main" id="{FA5DF274-F24C-8BD2-F67A-37619CDD4339}"/>
              </a:ext>
            </a:extLst>
          </p:cNvPr>
          <p:cNvSpPr txBox="1"/>
          <p:nvPr/>
        </p:nvSpPr>
        <p:spPr>
          <a:xfrm>
            <a:off x="755008" y="5014674"/>
            <a:ext cx="4605556" cy="1200329"/>
          </a:xfrm>
          <a:prstGeom prst="rect">
            <a:avLst/>
          </a:prstGeom>
          <a:noFill/>
          <a:ln w="28575">
            <a:solidFill>
              <a:schemeClr val="tx1"/>
            </a:solidFill>
          </a:ln>
        </p:spPr>
        <p:txBody>
          <a:bodyPr wrap="square" rtlCol="0">
            <a:spAutoFit/>
          </a:bodyPr>
          <a:lstStyle/>
          <a:p>
            <a:r>
              <a:rPr lang="en-GB"/>
              <a:t>Resource requirement/ timescales:</a:t>
            </a:r>
          </a:p>
          <a:p>
            <a:pPr marL="285750" indent="-285750">
              <a:buFont typeface="Arial" panose="020B0604020202020204" pitchFamily="34" charset="0"/>
              <a:buChar char="•"/>
            </a:pPr>
            <a:r>
              <a:rPr lang="en-GB"/>
              <a:t>Work not an immediate priority (?)</a:t>
            </a:r>
          </a:p>
          <a:p>
            <a:pPr marL="285750" indent="-285750">
              <a:buFont typeface="Arial" panose="020B0604020202020204" pitchFamily="34" charset="0"/>
              <a:buChar char="•"/>
            </a:pPr>
            <a:r>
              <a:rPr lang="en-GB"/>
              <a:t>Caspar to deliver until Xmas, learning requisite R capability enroute. </a:t>
            </a:r>
          </a:p>
        </p:txBody>
      </p:sp>
      <p:sp>
        <p:nvSpPr>
          <p:cNvPr id="6" name="TextBox 5">
            <a:extLst>
              <a:ext uri="{FF2B5EF4-FFF2-40B4-BE49-F238E27FC236}">
                <a16:creationId xmlns:a16="http://schemas.microsoft.com/office/drawing/2014/main" id="{5EA3CB53-9E8C-F5A7-A50C-E7A8B37BCC8C}"/>
              </a:ext>
            </a:extLst>
          </p:cNvPr>
          <p:cNvSpPr txBox="1"/>
          <p:nvPr/>
        </p:nvSpPr>
        <p:spPr>
          <a:xfrm>
            <a:off x="5596856" y="1690688"/>
            <a:ext cx="5840136" cy="4524315"/>
          </a:xfrm>
          <a:prstGeom prst="rect">
            <a:avLst/>
          </a:prstGeom>
          <a:noFill/>
          <a:ln w="28575">
            <a:solidFill>
              <a:schemeClr val="tx1"/>
            </a:solidFill>
          </a:ln>
        </p:spPr>
        <p:txBody>
          <a:bodyPr wrap="square" rtlCol="0">
            <a:spAutoFit/>
          </a:bodyPr>
          <a:lstStyle/>
          <a:p>
            <a:r>
              <a:rPr lang="en-GB" b="1"/>
              <a:t>Methodology:</a:t>
            </a:r>
          </a:p>
          <a:p>
            <a:pPr marL="285750" indent="-285750">
              <a:buFont typeface="Arial" panose="020B0604020202020204" pitchFamily="34" charset="0"/>
              <a:buChar char="•"/>
            </a:pPr>
            <a:r>
              <a:rPr lang="en-GB"/>
              <a:t>Identify which KS5 providers teach Eng/Maths at levels 2/3. Decide how to treat schools with ultra-low level of provision.</a:t>
            </a:r>
          </a:p>
          <a:p>
            <a:pPr marL="285750" indent="-285750">
              <a:buFont typeface="Arial" panose="020B0604020202020204" pitchFamily="34" charset="0"/>
              <a:buChar char="•"/>
            </a:pPr>
            <a:r>
              <a:rPr lang="en-GB"/>
              <a:t>Identity the nearest institution which can cover this provision</a:t>
            </a:r>
          </a:p>
          <a:p>
            <a:pPr marL="285750" indent="-285750">
              <a:buFont typeface="Arial" panose="020B0604020202020204" pitchFamily="34" charset="0"/>
              <a:buChar char="•"/>
            </a:pPr>
            <a:r>
              <a:rPr lang="en-GB"/>
              <a:t>Find capacity of L2/L3 English/Maths provision within planning areas (possible proxy for reasonable commutability and excess L2/3 capacity). </a:t>
            </a:r>
          </a:p>
          <a:p>
            <a:pPr marL="285750" indent="-285750">
              <a:buFont typeface="Arial" panose="020B0604020202020204" pitchFamily="34" charset="0"/>
              <a:buChar char="•"/>
            </a:pPr>
            <a:r>
              <a:rPr lang="en-GB"/>
              <a:t>Based on assumptions about how much </a:t>
            </a:r>
            <a:r>
              <a:rPr lang="en-GB" err="1"/>
              <a:t>eng</a:t>
            </a:r>
            <a:r>
              <a:rPr lang="en-GB"/>
              <a:t>/maths L2/3 capacity can be diversified/</a:t>
            </a:r>
            <a:r>
              <a:rPr lang="en-GB" err="1"/>
              <a:t>exapcnded</a:t>
            </a:r>
            <a:r>
              <a:rPr lang="en-GB"/>
              <a:t>, and the limits of reasonable commutability, work out how many pupils need to commute from specialised settings to Eng/Maths centres, and how far they need to travel. </a:t>
            </a:r>
          </a:p>
          <a:p>
            <a:pPr marL="285750" indent="-285750">
              <a:buFont typeface="Arial" panose="020B0604020202020204" pitchFamily="34" charset="0"/>
              <a:buChar char="•"/>
            </a:pPr>
            <a:r>
              <a:rPr lang="en-GB"/>
              <a:t>Analysis to be at pupil level. </a:t>
            </a:r>
          </a:p>
          <a:p>
            <a:endParaRPr lang="en-GB"/>
          </a:p>
        </p:txBody>
      </p:sp>
    </p:spTree>
    <p:extLst>
      <p:ext uri="{BB962C8B-B14F-4D97-AF65-F5344CB8AC3E}">
        <p14:creationId xmlns:p14="http://schemas.microsoft.com/office/powerpoint/2010/main" val="6544532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488033-D6B0-E395-136B-3E5B7D68AB35}"/>
              </a:ext>
            </a:extLst>
          </p:cNvPr>
          <p:cNvSpPr>
            <a:spLocks noGrp="1"/>
          </p:cNvSpPr>
          <p:nvPr>
            <p:ph type="title"/>
          </p:nvPr>
        </p:nvSpPr>
        <p:spPr/>
        <p:txBody>
          <a:bodyPr/>
          <a:lstStyle/>
          <a:p>
            <a:r>
              <a:rPr lang="en-GB"/>
              <a:t>4.Cost analysis </a:t>
            </a:r>
          </a:p>
        </p:txBody>
      </p:sp>
      <p:sp>
        <p:nvSpPr>
          <p:cNvPr id="4" name="TextBox 3">
            <a:extLst>
              <a:ext uri="{FF2B5EF4-FFF2-40B4-BE49-F238E27FC236}">
                <a16:creationId xmlns:a16="http://schemas.microsoft.com/office/drawing/2014/main" id="{A853B0FC-775E-22D3-57A7-BDD9C744E8FB}"/>
              </a:ext>
            </a:extLst>
          </p:cNvPr>
          <p:cNvSpPr txBox="1"/>
          <p:nvPr/>
        </p:nvSpPr>
        <p:spPr>
          <a:xfrm>
            <a:off x="446715" y="1678411"/>
            <a:ext cx="5359865" cy="2585323"/>
          </a:xfrm>
          <a:prstGeom prst="rect">
            <a:avLst/>
          </a:prstGeom>
          <a:noFill/>
          <a:ln w="28575">
            <a:solidFill>
              <a:schemeClr val="tx1"/>
            </a:solidFill>
          </a:ln>
        </p:spPr>
        <p:txBody>
          <a:bodyPr wrap="square" rtlCol="0">
            <a:spAutoFit/>
          </a:bodyPr>
          <a:lstStyle/>
          <a:p>
            <a:r>
              <a:rPr lang="en-GB"/>
              <a:t>Inputs:</a:t>
            </a:r>
          </a:p>
          <a:p>
            <a:pPr marL="285750" indent="-285750">
              <a:buFont typeface="Arial" panose="020B0604020202020204" pitchFamily="34" charset="0"/>
              <a:buChar char="•"/>
            </a:pPr>
            <a:r>
              <a:rPr lang="en-GB"/>
              <a:t>Required additional number teachers/specialisms</a:t>
            </a:r>
          </a:p>
          <a:p>
            <a:pPr marL="285750" indent="-285750">
              <a:buFont typeface="Arial" panose="020B0604020202020204" pitchFamily="34" charset="0"/>
              <a:buChar char="•"/>
            </a:pPr>
            <a:r>
              <a:rPr lang="en-GB"/>
              <a:t>Required diversified provision at technical KS5 spaces</a:t>
            </a:r>
          </a:p>
          <a:p>
            <a:pPr marL="285750" indent="-285750">
              <a:buFont typeface="Arial" panose="020B0604020202020204" pitchFamily="34" charset="0"/>
              <a:buChar char="•"/>
            </a:pPr>
            <a:r>
              <a:rPr lang="en-GB" sz="1800"/>
              <a:t>Cost of diversifying provision at specialised collages/facilitating multisite learning. </a:t>
            </a:r>
          </a:p>
          <a:p>
            <a:pPr marL="285750" indent="-285750">
              <a:buFont typeface="Arial" panose="020B0604020202020204" pitchFamily="34" charset="0"/>
              <a:buChar char="•"/>
            </a:pPr>
            <a:r>
              <a:rPr lang="en-GB" sz="1800"/>
              <a:t>Cost of transporting learners between settings</a:t>
            </a:r>
          </a:p>
          <a:p>
            <a:pPr marL="285750" indent="-285750">
              <a:buFont typeface="Arial" panose="020B0604020202020204" pitchFamily="34" charset="0"/>
              <a:buChar char="•"/>
            </a:pPr>
            <a:r>
              <a:rPr lang="en-GB" sz="1800"/>
              <a:t>Cost of hiring more teachers</a:t>
            </a:r>
          </a:p>
          <a:p>
            <a:pPr marL="285750" indent="-285750">
              <a:buFont typeface="Arial" panose="020B0604020202020204" pitchFamily="34" charset="0"/>
              <a:buChar char="•"/>
            </a:pPr>
            <a:r>
              <a:rPr lang="en-GB" sz="1800"/>
              <a:t>Delivery timescales (?)</a:t>
            </a:r>
            <a:endParaRPr lang="en-GB"/>
          </a:p>
        </p:txBody>
      </p:sp>
      <p:sp>
        <p:nvSpPr>
          <p:cNvPr id="5" name="TextBox 4">
            <a:extLst>
              <a:ext uri="{FF2B5EF4-FFF2-40B4-BE49-F238E27FC236}">
                <a16:creationId xmlns:a16="http://schemas.microsoft.com/office/drawing/2014/main" id="{38BD868C-22F3-7E71-CD02-782EDE246FB9}"/>
              </a:ext>
            </a:extLst>
          </p:cNvPr>
          <p:cNvSpPr txBox="1"/>
          <p:nvPr/>
        </p:nvSpPr>
        <p:spPr>
          <a:xfrm>
            <a:off x="446715" y="4486879"/>
            <a:ext cx="5359865" cy="1754326"/>
          </a:xfrm>
          <a:prstGeom prst="rect">
            <a:avLst/>
          </a:prstGeom>
          <a:noFill/>
          <a:ln w="28575">
            <a:solidFill>
              <a:schemeClr val="tx1"/>
            </a:solidFill>
          </a:ln>
        </p:spPr>
        <p:txBody>
          <a:bodyPr wrap="square" rtlCol="0">
            <a:spAutoFit/>
          </a:bodyPr>
          <a:lstStyle/>
          <a:p>
            <a:r>
              <a:rPr lang="en-GB"/>
              <a:t>Resource requirement/ timescales:</a:t>
            </a:r>
          </a:p>
          <a:p>
            <a:pPr marL="285750" indent="-285750">
              <a:buFont typeface="Arial" panose="020B0604020202020204" pitchFamily="34" charset="0"/>
              <a:buChar char="•"/>
            </a:pPr>
            <a:r>
              <a:rPr lang="en-GB"/>
              <a:t>If previous steps have been executed as planned, this will not take that long. </a:t>
            </a:r>
          </a:p>
          <a:p>
            <a:pPr marL="285750" indent="-285750">
              <a:buFont typeface="Arial" panose="020B0604020202020204" pitchFamily="34" charset="0"/>
              <a:buChar char="•"/>
            </a:pPr>
            <a:r>
              <a:rPr lang="en-GB"/>
              <a:t>Heavy dependence on completion of strand 2 on workforce, less so on strand 3 as coverage costs/impacts are likely to be smaller. </a:t>
            </a:r>
          </a:p>
        </p:txBody>
      </p:sp>
      <p:sp>
        <p:nvSpPr>
          <p:cNvPr id="6" name="TextBox 5">
            <a:extLst>
              <a:ext uri="{FF2B5EF4-FFF2-40B4-BE49-F238E27FC236}">
                <a16:creationId xmlns:a16="http://schemas.microsoft.com/office/drawing/2014/main" id="{DEBA8D5D-FF9B-0F6D-4E9B-BB7BFBCB8F19}"/>
              </a:ext>
            </a:extLst>
          </p:cNvPr>
          <p:cNvSpPr txBox="1"/>
          <p:nvPr/>
        </p:nvSpPr>
        <p:spPr>
          <a:xfrm>
            <a:off x="6096000" y="1690688"/>
            <a:ext cx="5550716" cy="3416320"/>
          </a:xfrm>
          <a:prstGeom prst="rect">
            <a:avLst/>
          </a:prstGeom>
          <a:noFill/>
          <a:ln w="28575">
            <a:solidFill>
              <a:schemeClr val="tx1"/>
            </a:solidFill>
          </a:ln>
        </p:spPr>
        <p:txBody>
          <a:bodyPr wrap="square" rtlCol="0">
            <a:spAutoFit/>
          </a:bodyPr>
          <a:lstStyle/>
          <a:p>
            <a:r>
              <a:rPr lang="en-GB"/>
              <a:t>Methodology:</a:t>
            </a:r>
          </a:p>
          <a:p>
            <a:pPr marL="285750" indent="-285750">
              <a:buFont typeface="Arial" panose="020B0604020202020204" pitchFamily="34" charset="0"/>
              <a:buChar char="•"/>
            </a:pPr>
            <a:r>
              <a:rPr lang="en-GB"/>
              <a:t>Cost to be aggregated at national level, and sensitivity testing ranges to be applied based on policy/input uncertainties</a:t>
            </a:r>
          </a:p>
          <a:p>
            <a:pPr marL="285750" indent="-285750">
              <a:buFont typeface="Arial" panose="020B0604020202020204" pitchFamily="34" charset="0"/>
              <a:buChar char="•"/>
            </a:pPr>
            <a:endParaRPr lang="en-GB"/>
          </a:p>
          <a:p>
            <a:pPr marL="285750" indent="-285750">
              <a:buFont typeface="Arial" panose="020B0604020202020204" pitchFamily="34" charset="0"/>
              <a:buChar char="•"/>
            </a:pPr>
            <a:endParaRPr lang="en-GB"/>
          </a:p>
          <a:p>
            <a:endParaRPr lang="en-GB"/>
          </a:p>
          <a:p>
            <a:endParaRPr lang="en-GB"/>
          </a:p>
          <a:p>
            <a:endParaRPr lang="en-GB"/>
          </a:p>
          <a:p>
            <a:endParaRPr lang="en-GB"/>
          </a:p>
          <a:p>
            <a:endParaRPr lang="en-GB"/>
          </a:p>
          <a:p>
            <a:endParaRPr lang="en-GB"/>
          </a:p>
        </p:txBody>
      </p:sp>
    </p:spTree>
    <p:extLst>
      <p:ext uri="{BB962C8B-B14F-4D97-AF65-F5344CB8AC3E}">
        <p14:creationId xmlns:p14="http://schemas.microsoft.com/office/powerpoint/2010/main" val="15499445"/>
      </p:ext>
    </p:extLst>
  </p:cSld>
  <p:clrMapOvr>
    <a:masterClrMapping/>
  </p:clrMapOvr>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D812AE-EA20-92BE-5E47-A6E9D69ADD02}"/>
              </a:ext>
            </a:extLst>
          </p:cNvPr>
          <p:cNvSpPr>
            <a:spLocks noGrp="1"/>
          </p:cNvSpPr>
          <p:nvPr>
            <p:ph type="title"/>
          </p:nvPr>
        </p:nvSpPr>
        <p:spPr>
          <a:xfrm>
            <a:off x="432732" y="200805"/>
            <a:ext cx="5663268" cy="965265"/>
          </a:xfrm>
        </p:spPr>
        <p:txBody>
          <a:bodyPr/>
          <a:lstStyle/>
          <a:p>
            <a:r>
              <a:rPr lang="en-GB"/>
              <a:t>5. Delivery trajectories</a:t>
            </a:r>
          </a:p>
        </p:txBody>
      </p:sp>
      <p:sp>
        <p:nvSpPr>
          <p:cNvPr id="4" name="TextBox 3">
            <a:extLst>
              <a:ext uri="{FF2B5EF4-FFF2-40B4-BE49-F238E27FC236}">
                <a16:creationId xmlns:a16="http://schemas.microsoft.com/office/drawing/2014/main" id="{0FA1A745-0F94-415E-F1FC-07B15FB41C91}"/>
              </a:ext>
            </a:extLst>
          </p:cNvPr>
          <p:cNvSpPr txBox="1"/>
          <p:nvPr/>
        </p:nvSpPr>
        <p:spPr>
          <a:xfrm>
            <a:off x="755008" y="1439018"/>
            <a:ext cx="4530055" cy="2585323"/>
          </a:xfrm>
          <a:prstGeom prst="rect">
            <a:avLst/>
          </a:prstGeom>
          <a:noFill/>
          <a:ln w="28575">
            <a:solidFill>
              <a:schemeClr val="tx1"/>
            </a:solidFill>
          </a:ln>
        </p:spPr>
        <p:txBody>
          <a:bodyPr wrap="square" rtlCol="0">
            <a:spAutoFit/>
          </a:bodyPr>
          <a:lstStyle/>
          <a:p>
            <a:r>
              <a:rPr lang="en-GB"/>
              <a:t>Inputs:</a:t>
            </a:r>
          </a:p>
          <a:p>
            <a:pPr marL="285750" indent="-285750">
              <a:buFont typeface="Arial" panose="020B0604020202020204" pitchFamily="34" charset="0"/>
              <a:buChar char="•"/>
            </a:pPr>
            <a:r>
              <a:rPr lang="en-GB"/>
              <a:t>Delivery timescales – what delivery milestones are we expecting.</a:t>
            </a:r>
          </a:p>
          <a:p>
            <a:pPr marL="285750" indent="-285750">
              <a:buFont typeface="Arial" panose="020B0604020202020204" pitchFamily="34" charset="0"/>
              <a:buChar char="•"/>
            </a:pPr>
            <a:r>
              <a:rPr lang="en-GB"/>
              <a:t>Required additional teaching capability at technical collages etc. </a:t>
            </a:r>
          </a:p>
          <a:p>
            <a:pPr marL="285750" indent="-285750">
              <a:buFont typeface="Arial" panose="020B0604020202020204" pitchFamily="34" charset="0"/>
              <a:buChar char="•"/>
            </a:pPr>
            <a:r>
              <a:rPr lang="en-GB"/>
              <a:t>Required extra number of teacher and specialisms. </a:t>
            </a:r>
          </a:p>
          <a:p>
            <a:endParaRPr lang="en-GB"/>
          </a:p>
          <a:p>
            <a:endParaRPr lang="en-GB"/>
          </a:p>
        </p:txBody>
      </p:sp>
      <p:sp>
        <p:nvSpPr>
          <p:cNvPr id="5" name="TextBox 4">
            <a:extLst>
              <a:ext uri="{FF2B5EF4-FFF2-40B4-BE49-F238E27FC236}">
                <a16:creationId xmlns:a16="http://schemas.microsoft.com/office/drawing/2014/main" id="{0D2D662D-C46A-8ECB-DF9A-0C541E4F8EE0}"/>
              </a:ext>
            </a:extLst>
          </p:cNvPr>
          <p:cNvSpPr txBox="1"/>
          <p:nvPr/>
        </p:nvSpPr>
        <p:spPr>
          <a:xfrm>
            <a:off x="755008" y="4229844"/>
            <a:ext cx="4605556" cy="2031325"/>
          </a:xfrm>
          <a:prstGeom prst="rect">
            <a:avLst/>
          </a:prstGeom>
          <a:noFill/>
          <a:ln w="28575">
            <a:solidFill>
              <a:schemeClr val="tx1"/>
            </a:solidFill>
          </a:ln>
        </p:spPr>
        <p:txBody>
          <a:bodyPr wrap="square" rtlCol="0">
            <a:spAutoFit/>
          </a:bodyPr>
          <a:lstStyle/>
          <a:p>
            <a:r>
              <a:rPr lang="en-GB"/>
              <a:t>Resource requirement/ timescales:</a:t>
            </a:r>
          </a:p>
          <a:p>
            <a:pPr marL="285750" indent="-285750">
              <a:buFont typeface="Arial" panose="020B0604020202020204" pitchFamily="34" charset="0"/>
              <a:buChar char="•"/>
            </a:pPr>
            <a:r>
              <a:rPr lang="en-GB"/>
              <a:t>If previous steps have been executed as planned, this will not take that long. </a:t>
            </a:r>
          </a:p>
          <a:p>
            <a:pPr marL="285750" indent="-285750">
              <a:buFont typeface="Arial" panose="020B0604020202020204" pitchFamily="34" charset="0"/>
              <a:buChar char="•"/>
            </a:pPr>
            <a:r>
              <a:rPr lang="en-GB"/>
              <a:t>Heavy dependence on strands 2 and 3.</a:t>
            </a:r>
          </a:p>
          <a:p>
            <a:pPr marL="285750" indent="-285750">
              <a:buFont typeface="Arial" panose="020B0604020202020204" pitchFamily="34" charset="0"/>
              <a:buChar char="•"/>
            </a:pPr>
            <a:r>
              <a:rPr lang="en-GB"/>
              <a:t>Strand 2 is most critical for the aggregate picture.  (when we will say 95% ready, as coverage issues will affect a minority.)</a:t>
            </a:r>
          </a:p>
        </p:txBody>
      </p:sp>
      <p:sp>
        <p:nvSpPr>
          <p:cNvPr id="6" name="TextBox 5">
            <a:extLst>
              <a:ext uri="{FF2B5EF4-FFF2-40B4-BE49-F238E27FC236}">
                <a16:creationId xmlns:a16="http://schemas.microsoft.com/office/drawing/2014/main" id="{EE2BC894-A717-75DF-9D78-F443C76393CF}"/>
              </a:ext>
            </a:extLst>
          </p:cNvPr>
          <p:cNvSpPr txBox="1"/>
          <p:nvPr/>
        </p:nvSpPr>
        <p:spPr>
          <a:xfrm>
            <a:off x="5739467" y="1439018"/>
            <a:ext cx="5840136" cy="2031325"/>
          </a:xfrm>
          <a:prstGeom prst="rect">
            <a:avLst/>
          </a:prstGeom>
          <a:noFill/>
          <a:ln w="28575">
            <a:solidFill>
              <a:schemeClr val="tx1"/>
            </a:solidFill>
          </a:ln>
        </p:spPr>
        <p:txBody>
          <a:bodyPr wrap="square" rtlCol="0">
            <a:spAutoFit/>
          </a:bodyPr>
          <a:lstStyle/>
          <a:p>
            <a:r>
              <a:rPr lang="en-GB"/>
              <a:t>Methodology:</a:t>
            </a:r>
          </a:p>
          <a:p>
            <a:pPr marL="285750" indent="-285750">
              <a:buFont typeface="Arial" panose="020B0604020202020204" pitchFamily="34" charset="0"/>
              <a:buChar char="•"/>
            </a:pPr>
            <a:r>
              <a:rPr lang="en-GB"/>
              <a:t>Find a satisfactory way of “straight lining” between the status quo level of capacity/workforce, and the full roll out according to our policy scenarios. </a:t>
            </a:r>
          </a:p>
          <a:p>
            <a:pPr marL="285750" indent="-285750">
              <a:buFont typeface="Arial" panose="020B0604020202020204" pitchFamily="34" charset="0"/>
              <a:buChar char="•"/>
            </a:pPr>
            <a:r>
              <a:rPr lang="en-GB"/>
              <a:t>Output will depend on if we creating an analytical driven target, or a delivery forecast</a:t>
            </a:r>
          </a:p>
          <a:p>
            <a:endParaRPr lang="en-GB"/>
          </a:p>
        </p:txBody>
      </p:sp>
    </p:spTree>
    <p:extLst>
      <p:ext uri="{BB962C8B-B14F-4D97-AF65-F5344CB8AC3E}">
        <p14:creationId xmlns:p14="http://schemas.microsoft.com/office/powerpoint/2010/main" val="174021980"/>
      </p:ext>
    </p:extLst>
  </p:cSld>
  <p:clrMapOvr>
    <a:masterClrMapping/>
  </p:clrMapOvr>
  <p:extLst>
    <p:ext uri="{6950BFC3-D8DA-4A85-94F7-54DA5524770B}">
      <p188:commentRel xmlns:p188="http://schemas.microsoft.com/office/powerpoint/2018/8/main" r:id="rId2"/>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939B3-CD80-D565-8543-63612EC433D7}"/>
              </a:ext>
            </a:extLst>
          </p:cNvPr>
          <p:cNvSpPr>
            <a:spLocks noGrp="1"/>
          </p:cNvSpPr>
          <p:nvPr>
            <p:ph type="title"/>
          </p:nvPr>
        </p:nvSpPr>
        <p:spPr/>
        <p:txBody>
          <a:bodyPr/>
          <a:lstStyle/>
          <a:p>
            <a:r>
              <a:rPr lang="en-GB"/>
              <a:t>ABS policy elements </a:t>
            </a:r>
          </a:p>
        </p:txBody>
      </p:sp>
      <p:sp>
        <p:nvSpPr>
          <p:cNvPr id="3" name="Content Placeholder 2">
            <a:extLst>
              <a:ext uri="{FF2B5EF4-FFF2-40B4-BE49-F238E27FC236}">
                <a16:creationId xmlns:a16="http://schemas.microsoft.com/office/drawing/2014/main" id="{076B8408-0788-27D2-74B6-468E184E7F4A}"/>
              </a:ext>
            </a:extLst>
          </p:cNvPr>
          <p:cNvSpPr>
            <a:spLocks noGrp="1"/>
          </p:cNvSpPr>
          <p:nvPr>
            <p:ph idx="1"/>
          </p:nvPr>
        </p:nvSpPr>
        <p:spPr>
          <a:xfrm>
            <a:off x="838200" y="1825625"/>
            <a:ext cx="4757257" cy="4351338"/>
          </a:xfrm>
        </p:spPr>
        <p:txBody>
          <a:bodyPr>
            <a:normAutofit/>
          </a:bodyPr>
          <a:lstStyle/>
          <a:p>
            <a:pPr marL="0" indent="0">
              <a:buNone/>
            </a:pPr>
            <a:r>
              <a:rPr lang="en-GB" sz="2400"/>
              <a:t>Tracks available for compulsory subjects:</a:t>
            </a:r>
          </a:p>
          <a:p>
            <a:r>
              <a:rPr lang="en-GB" sz="2400"/>
              <a:t>Major (L3)</a:t>
            </a:r>
          </a:p>
          <a:p>
            <a:r>
              <a:rPr lang="en-GB" sz="2400"/>
              <a:t>Minor (L2)</a:t>
            </a:r>
          </a:p>
          <a:p>
            <a:r>
              <a:rPr lang="en-GB" sz="2400"/>
              <a:t>Intermediate (L2.5)</a:t>
            </a:r>
          </a:p>
          <a:p>
            <a:r>
              <a:rPr lang="en-GB" sz="2400"/>
              <a:t>Resits (L2 – foundation/higher paper)</a:t>
            </a:r>
          </a:p>
          <a:p>
            <a:r>
              <a:rPr lang="en-GB" sz="2400"/>
              <a:t>Below L2</a:t>
            </a:r>
          </a:p>
        </p:txBody>
      </p:sp>
    </p:spTree>
    <p:extLst>
      <p:ext uri="{BB962C8B-B14F-4D97-AF65-F5344CB8AC3E}">
        <p14:creationId xmlns:p14="http://schemas.microsoft.com/office/powerpoint/2010/main" val="36558598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oLyx9PGQC.zq0J6Rtz7t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56F455F2358C54AA94BBFF8BBD4D051" ma:contentTypeVersion="18" ma:contentTypeDescription="Create a new document." ma:contentTypeScope="" ma:versionID="5830d93f7fb621fe4edea595a8dccebe">
  <xsd:schema xmlns:xsd="http://www.w3.org/2001/XMLSchema" xmlns:xs="http://www.w3.org/2001/XMLSchema" xmlns:p="http://schemas.microsoft.com/office/2006/metadata/properties" xmlns:ns2="e967a298-a971-4578-bee3-3f5c7149a83d" xmlns:ns3="9cda6800-da69-4b6c-9a1d-259367ce3af5" xmlns:ns4="8c566321-f672-4e06-a901-b5e72b4c4357" targetNamespace="http://schemas.microsoft.com/office/2006/metadata/properties" ma:root="true" ma:fieldsID="5ccfef0ea5b4052c316e912cb0a04eb0" ns2:_="" ns3:_="" ns4:_="">
    <xsd:import namespace="e967a298-a971-4578-bee3-3f5c7149a83d"/>
    <xsd:import namespace="9cda6800-da69-4b6c-9a1d-259367ce3af5"/>
    <xsd:import namespace="8c566321-f672-4e06-a901-b5e72b4c435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4: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67a298-a971-4578-bee3-3f5c7149a83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c07c698-60f5-424f-b9af-f4c59398b511"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cda6800-da69-4b6c-9a1d-259367ce3af5"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c566321-f672-4e06-a901-b5e72b4c4357"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db9fabd4-e73a-44ee-a587-6aa0d481c866}" ma:internalName="TaxCatchAll" ma:showField="CatchAllData" ma:web="9cda6800-da69-4b6c-9a1d-259367ce3af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8c566321-f672-4e06-a901-b5e72b4c4357" xsi:nil="true"/>
    <lcf76f155ced4ddcb4097134ff3c332f xmlns="e967a298-a971-4578-bee3-3f5c7149a83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A663D9A7-C239-4491-BDE1-0EFFFA3EA833}"/>
</file>

<file path=customXml/itemProps2.xml><?xml version="1.0" encoding="utf-8"?>
<ds:datastoreItem xmlns:ds="http://schemas.openxmlformats.org/officeDocument/2006/customXml" ds:itemID="{B494C49E-56D7-4CB5-AC2F-1988CFC59479}"/>
</file>

<file path=customXml/itemProps3.xml><?xml version="1.0" encoding="utf-8"?>
<ds:datastoreItem xmlns:ds="http://schemas.openxmlformats.org/officeDocument/2006/customXml" ds:itemID="{84F03B69-0365-43F7-975A-570680FD3AE2}"/>
</file>

<file path=docProps/app.xml><?xml version="1.0" encoding="utf-8"?>
<Properties xmlns="http://schemas.openxmlformats.org/officeDocument/2006/extended-properties" xmlns:vt="http://schemas.openxmlformats.org/officeDocument/2006/docPropsVTypes">
  <TotalTime>35859</TotalTime>
  <Words>3110</Words>
  <Application>Microsoft Office PowerPoint</Application>
  <PresentationFormat>Widescreen</PresentationFormat>
  <Paragraphs>306</Paragraphs>
  <Slides>23</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0" baseType="lpstr">
      <vt:lpstr>Arial</vt:lpstr>
      <vt:lpstr>Calibri</vt:lpstr>
      <vt:lpstr>Calibri Light</vt:lpstr>
      <vt:lpstr>Courier New</vt:lpstr>
      <vt:lpstr>Times New Roman</vt:lpstr>
      <vt:lpstr>Office Theme</vt:lpstr>
      <vt:lpstr>think-cell Slide</vt:lpstr>
      <vt:lpstr>ABS cohorts, providers and workforce analytical map. </vt:lpstr>
      <vt:lpstr>Analytical map </vt:lpstr>
      <vt:lpstr>1.1 Cohort analysis </vt:lpstr>
      <vt:lpstr>1.2 Cohort analysis (simpler parallel methodology)</vt:lpstr>
      <vt:lpstr>2. Workforce analysis </vt:lpstr>
      <vt:lpstr>3. Provider analysis</vt:lpstr>
      <vt:lpstr>4.Cost analysis </vt:lpstr>
      <vt:lpstr>5. Delivery trajectories</vt:lpstr>
      <vt:lpstr>ABS policy elements </vt:lpstr>
      <vt:lpstr>ABS cohort model</vt:lpstr>
      <vt:lpstr>Main assumptions and sensitivities</vt:lpstr>
      <vt:lpstr>Initial outputs - learners on each route</vt:lpstr>
      <vt:lpstr>The granular model means we can explore this at a variety of levels, e.g. </vt:lpstr>
      <vt:lpstr>Routes by L2 pass rates</vt:lpstr>
      <vt:lpstr>Simplified workforce implications approach</vt:lpstr>
      <vt:lpstr>Existing qualification GLH</vt:lpstr>
      <vt:lpstr>Additional workforce outputs [DRAFT]</vt:lpstr>
      <vt:lpstr>Scenarios [??]</vt:lpstr>
      <vt:lpstr>Progress so far</vt:lpstr>
      <vt:lpstr>Next steps</vt:lpstr>
      <vt:lpstr>Issues tree</vt:lpstr>
      <vt:lpstr>Work force implications by Level of teaching specialism [OLD]</vt:lpstr>
      <vt:lpstr>2 scenario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BS cohorts, providers and workforce analytical map. </dc:title>
  <dc:creator>WALKER, William</dc:creator>
  <cp:lastModifiedBy>WALKER, William</cp:lastModifiedBy>
  <cp:revision>1</cp:revision>
  <dcterms:created xsi:type="dcterms:W3CDTF">2023-11-22T17:28:30Z</dcterms:created>
  <dcterms:modified xsi:type="dcterms:W3CDTF">2024-01-10T12:1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6F455F2358C54AA94BBFF8BBD4D051</vt:lpwstr>
  </property>
</Properties>
</file>